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1C3_F5C98791.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1C4_9F28CB84.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802" r:id="rId5"/>
  </p:sldMasterIdLst>
  <p:notesMasterIdLst>
    <p:notesMasterId r:id="rId19"/>
  </p:notesMasterIdLst>
  <p:handoutMasterIdLst>
    <p:handoutMasterId r:id="rId20"/>
  </p:handoutMasterIdLst>
  <p:sldIdLst>
    <p:sldId id="448" r:id="rId6"/>
    <p:sldId id="488" r:id="rId7"/>
    <p:sldId id="481" r:id="rId8"/>
    <p:sldId id="494" r:id="rId9"/>
    <p:sldId id="496" r:id="rId10"/>
    <p:sldId id="462" r:id="rId11"/>
    <p:sldId id="491" r:id="rId12"/>
    <p:sldId id="493" r:id="rId13"/>
    <p:sldId id="451" r:id="rId14"/>
    <p:sldId id="489" r:id="rId15"/>
    <p:sldId id="452" r:id="rId16"/>
    <p:sldId id="484" r:id="rId17"/>
    <p:sldId id="487" r:id="rId18"/>
  </p:sldIdLst>
  <p:sldSz cx="12192000" cy="6858000"/>
  <p:notesSz cx="7315200" cy="9601200"/>
  <p:custDataLst>
    <p:tags r:id="rId2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C4630368-688D-4465-B4C0-EA2CEA9A1270}">
          <p14:sldIdLst>
            <p14:sldId id="448"/>
          </p14:sldIdLst>
        </p14:section>
        <p14:section name="Contents" id="{64471A15-78E8-4D48-972B-199618EB7F45}">
          <p14:sldIdLst>
            <p14:sldId id="488"/>
          </p14:sldIdLst>
        </p14:section>
        <p14:section name="Intro" id="{D058A40C-23D9-4988-9A03-0F569F78856D}">
          <p14:sldIdLst>
            <p14:sldId id="481"/>
            <p14:sldId id="494"/>
            <p14:sldId id="496"/>
          </p14:sldIdLst>
        </p14:section>
        <p14:section name="Use Case Description" id="{A876A145-1470-433B-9CFD-8F71A394EBEE}">
          <p14:sldIdLst>
            <p14:sldId id="462"/>
          </p14:sldIdLst>
        </p14:section>
        <p14:section name="Challenge" id="{DCA9AC05-633B-4375-9077-15A0E9095A12}">
          <p14:sldIdLst>
            <p14:sldId id="491"/>
            <p14:sldId id="493"/>
          </p14:sldIdLst>
        </p14:section>
        <p14:section name="Challenge Rules" id="{979061BF-D1A4-4116-9C63-D348F101DEF5}">
          <p14:sldIdLst>
            <p14:sldId id="451"/>
            <p14:sldId id="489"/>
          </p14:sldIdLst>
        </p14:section>
        <p14:section name="Pitch Guidelines" id="{2BCC172F-336A-4E2A-8260-47D1A0E143AB}">
          <p14:sldIdLst>
            <p14:sldId id="452"/>
          </p14:sldIdLst>
        </p14:section>
        <p14:section name="Technical Instructions" id="{757A10DD-EE34-4E19-BA42-007DFFA42B9D}">
          <p14:sldIdLst>
            <p14:sldId id="484"/>
          </p14:sldIdLst>
        </p14:section>
        <p14:section name="Thank you - End" id="{9D165B4B-26B7-458A-AE4E-DD0ED5B8ABAA}">
          <p14:sldIdLst>
            <p14:sldId id="487"/>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9FEE24-C56C-5B64-8B7B-E75FF3F046A3}" name="Dinis, Pedro Silva" initials="DPS" userId="S::pedinis@deloitte.pt::80d627b7-2448-45ae-b9b8-5a7f30de8d55" providerId="AD"/>
  <p188:author id="{441DF532-08B8-6713-7544-7AA33ADA9AA6}" name="Baleiras, Joana Miranda" initials="BJM" userId="S::jbaleiras@deloitte.pt::2b7f9f5d-c293-48a9-aadb-5046eb10d457" providerId="AD"/>
  <p188:author id="{D99C7F71-8F77-B72A-3BE5-7335D0F6B301}" name="Duarte, Daniel Belem" initials="DD" userId="S::daduarte@deloitte.pt::682c213e-c153-48f3-97a4-bba593470623" providerId="AD"/>
  <p188:author id="{3CE4C28D-66B0-62FF-8F8E-56601C75223A}" name="Montezinho, Pedro Figueiredo" initials="PM" userId="S::pmontezinho@deloitte.pt::d31c9fa9-e7c3-4193-bb6b-94a65eaa2d86" providerId="AD"/>
  <p188:author id="{1ECC47AF-94CF-9FD1-8357-725E0F66E5F4}" name="Oliveira, Cristina Costa" initials="CO" userId="S::crisoliveira@deloitte.pt::dc36e274-2b65-452a-942d-14450093c1a5" providerId="AD"/>
  <p188:author id="{44F9C7EE-177C-F610-DFE9-8F090E4E74B8}" name="Silva, Hugo Mentzingen" initials="SM" userId="S::hugomsilva@deloitte.pt::721fd1e8-b92c-48b2-a179-8bce049d1105" providerId="AD"/>
  <p188:author id="{755281F8-F4DF-142B-1B92-62366D573A8C}" name="Hugo Mentzingen" initials="HM" userId="93e46a4a03755bf4"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7D51"/>
    <a:srgbClr val="012169"/>
    <a:srgbClr val="18893E"/>
    <a:srgbClr val="BAE370"/>
    <a:srgbClr val="0BA4D7"/>
    <a:srgbClr val="ED8B00"/>
    <a:srgbClr val="000000"/>
    <a:srgbClr val="FFCD00"/>
    <a:srgbClr val="DB291C"/>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42705C-E130-644A-A9A8-3DCDCF505B76}" v="1" dt="2025-03-19T11:41:07.4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09"/>
    <p:restoredTop sz="94663"/>
  </p:normalViewPr>
  <p:slideViewPr>
    <p:cSldViewPr snapToGrid="0">
      <p:cViewPr varScale="1">
        <p:scale>
          <a:sx n="117" d="100"/>
          <a:sy n="117" d="100"/>
        </p:scale>
        <p:origin x="800" y="176"/>
      </p:cViewPr>
      <p:guideLst>
        <p:guide/>
        <p:guide orient="horz" pos="2047"/>
        <p:guide orient="horz" pos="1593"/>
        <p:guide orient="horz" pos="2568"/>
        <p:guide orient="horz" pos="3090"/>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a, Hugo Mentzingen" userId="721fd1e8-b92c-48b2-a179-8bce049d1105" providerId="ADAL" clId="{B442705C-E130-644A-A9A8-3DCDCF505B76}"/>
    <pc:docChg chg="modSld">
      <pc:chgData name="Silva, Hugo Mentzingen" userId="721fd1e8-b92c-48b2-a179-8bce049d1105" providerId="ADAL" clId="{B442705C-E130-644A-A9A8-3DCDCF505B76}" dt="2025-03-19T11:49:29.693" v="0" actId="14826"/>
      <pc:docMkLst>
        <pc:docMk/>
      </pc:docMkLst>
      <pc:sldChg chg="modSp mod">
        <pc:chgData name="Silva, Hugo Mentzingen" userId="721fd1e8-b92c-48b2-a179-8bce049d1105" providerId="ADAL" clId="{B442705C-E130-644A-A9A8-3DCDCF505B76}" dt="2025-03-19T11:49:29.693" v="0" actId="14826"/>
        <pc:sldMkLst>
          <pc:docMk/>
          <pc:sldMk cId="2513147426" sldId="494"/>
        </pc:sldMkLst>
        <pc:picChg chg="mod">
          <ac:chgData name="Silva, Hugo Mentzingen" userId="721fd1e8-b92c-48b2-a179-8bce049d1105" providerId="ADAL" clId="{B442705C-E130-644A-A9A8-3DCDCF505B76}" dt="2025-03-19T11:49:29.693" v="0" actId="14826"/>
          <ac:picMkLst>
            <pc:docMk/>
            <pc:sldMk cId="2513147426" sldId="494"/>
            <ac:picMk id="78" creationId="{AE7C741B-5BEB-EB50-F4F6-FE25C35AC491}"/>
          </ac:picMkLst>
        </pc:picChg>
      </pc:sldChg>
    </pc:docChg>
  </pc:docChgLst>
</pc:chgInfo>
</file>

<file path=ppt/comments/modernComment_1C3_F5C98791.xml><?xml version="1.0" encoding="utf-8"?>
<p188:cmLst xmlns:a="http://schemas.openxmlformats.org/drawingml/2006/main" xmlns:r="http://schemas.openxmlformats.org/officeDocument/2006/relationships" xmlns:p188="http://schemas.microsoft.com/office/powerpoint/2018/8/main">
  <p188:cm id="{BD274D6F-94E2-49AE-8087-03915286945C}" authorId="{44F9C7EE-177C-F610-DFE9-8F090E4E74B8}" status="resolved" created="2024-11-13T19:00:11.459" complete="100000">
    <ac:txMkLst xmlns:ac="http://schemas.microsoft.com/office/drawing/2013/main/command">
      <pc:docMk xmlns:pc="http://schemas.microsoft.com/office/powerpoint/2013/main/command"/>
      <pc:sldMk xmlns:pc="http://schemas.microsoft.com/office/powerpoint/2013/main/command" cId="4123625361" sldId="451"/>
      <ac:spMk id="5" creationId="{00000000-0000-0000-0000-000000000000}"/>
      <ac:txMk cp="353" len="15">
        <ac:context len="783" hash="137719812"/>
      </ac:txMk>
    </ac:txMkLst>
    <p188:pos x="582083" y="2037291"/>
    <p188:txBody>
      <a:bodyPr/>
      <a:lstStyle/>
      <a:p>
        <a:r>
          <a:rPr lang="en-US"/>
          <a:t>Não sei se podemos interferir nas regras. 10 minutos também é tempo demais, eles não vão ter assim tanto para mostrar. 5 ou 6 minutos no máximo, mas falamos sobre isso na próxima reunião.</a:t>
        </a:r>
      </a:p>
    </p188:txBody>
  </p188:cm>
  <p188:cm id="{FACCF6E3-E9CF-4EBA-B499-F083D3522DA4}" authorId="{44F9C7EE-177C-F610-DFE9-8F090E4E74B8}" status="resolved" created="2024-11-13T19:01:12.085" complete="100000">
    <ac:txMkLst xmlns:ac="http://schemas.microsoft.com/office/drawing/2013/main/command">
      <pc:docMk xmlns:pc="http://schemas.microsoft.com/office/powerpoint/2013/main/command"/>
      <pc:sldMk xmlns:pc="http://schemas.microsoft.com/office/powerpoint/2013/main/command" cId="4123625361" sldId="451"/>
      <ac:spMk id="5" creationId="{00000000-0000-0000-0000-000000000000}"/>
      <ac:txMk cp="400" len="155">
        <ac:context len="783" hash="137719812"/>
      </ac:txMk>
    </ac:txMkLst>
    <p188:pos x="3169708" y="3074458"/>
    <p188:replyLst>
      <p188:reply id="{21CC5BA6-2C3E-4AE9-AACD-CE39DCBD7376}" authorId="{1ECC47AF-94CF-9FD1-8357-725E0F66E5F4}" created="2024-11-14T10:07:36.618">
        <p188:txBody>
          <a:bodyPr/>
          <a:lstStyle/>
          <a:p>
            <a:r>
              <a:rPr lang="pt-PT"/>
              <a:t>Adicionado</a:t>
            </a:r>
          </a:p>
        </p188:txBody>
      </p188:reply>
    </p188:replyLst>
    <p188:txBody>
      <a:bodyPr/>
      <a:lstStyle/>
      <a:p>
        <a:r>
          <a:rPr lang="en-US"/>
          <a:t>adicionar "questions coverage and answer accuracy"</a:t>
        </a:r>
      </a:p>
    </p188:txBody>
  </p188:cm>
  <p188:cm id="{D05DB884-9882-40EF-A989-4E1787458990}" authorId="{44F9C7EE-177C-F610-DFE9-8F090E4E74B8}" status="resolved" created="2024-11-13T19:02:46.415" complete="100000">
    <ac:txMkLst xmlns:ac="http://schemas.microsoft.com/office/drawing/2013/main/command">
      <pc:docMk xmlns:pc="http://schemas.microsoft.com/office/powerpoint/2013/main/command"/>
      <pc:sldMk xmlns:pc="http://schemas.microsoft.com/office/powerpoint/2013/main/command" cId="4123625361" sldId="451"/>
      <ac:spMk id="5" creationId="{00000000-0000-0000-0000-000000000000}"/>
      <ac:txMk cp="557" len="92">
        <ac:context len="783" hash="137719812"/>
      </ac:txMk>
    </ac:txMkLst>
    <p188:pos x="3587750" y="3894666"/>
    <p188:replyLst>
      <p188:reply id="{07125552-8475-431F-9629-5A78154C97CC}" authorId="{1ECC47AF-94CF-9FD1-8357-725E0F66E5F4}" created="2024-11-14T10:13:05.360">
        <p188:txBody>
          <a:bodyPr/>
          <a:lstStyle/>
          <a:p>
            <a:r>
              <a:rPr lang="pt-PT"/>
              <a:t>Adicionei um ponto novo </a:t>
            </a:r>
          </a:p>
        </p188:txBody>
      </p188:reply>
    </p188:replyLst>
    <p188:txBody>
      <a:bodyPr/>
      <a:lstStyle/>
      <a:p>
        <a:r>
          <a:rPr lang="en-US"/>
          <a:t>Adicionar que o uso de ferramentas de modelos de linguagem não apenas é permitido como é encorajado, devem demonstrar fazer uso eficiente das ferramentas disponíveis.</a:t>
        </a:r>
      </a:p>
    </p188:txBody>
  </p188:cm>
  <p188:cm id="{773A545D-BE3F-43D7-9797-BCA1504D3E00}" authorId="{44F9C7EE-177C-F610-DFE9-8F090E4E74B8}" status="resolved" created="2024-11-13T19:03:13.431" complete="100000">
    <ac:deMkLst xmlns:ac="http://schemas.microsoft.com/office/drawing/2013/main/command">
      <pc:docMk xmlns:pc="http://schemas.microsoft.com/office/powerpoint/2013/main/command"/>
      <pc:sldMk xmlns:pc="http://schemas.microsoft.com/office/powerpoint/2013/main/command" cId="4123625361" sldId="451"/>
      <ac:grpSpMk id="70" creationId="{BEE1A486-016F-A250-9908-EA17C6E885EF}"/>
    </ac:deMkLst>
    <p188:replyLst>
      <p188:reply id="{EB8A58BD-F51A-48C8-83CC-464DACFD2250}" authorId="{1ECC47AF-94CF-9FD1-8357-725E0F66E5F4}" created="2024-11-14T10:14:07.862">
        <p188:txBody>
          <a:bodyPr/>
          <a:lstStyle/>
          <a:p>
            <a:r>
              <a:rPr lang="pt-PT"/>
              <a:t>Alterada</a:t>
            </a:r>
          </a:p>
        </p188:txBody>
      </p188:reply>
    </p188:replyLst>
    <p188:txBody>
      <a:bodyPr/>
      <a:lstStyle/>
      <a:p>
        <a:r>
          <a:rPr lang="en-US"/>
          <a:t>Podes trocar pela imagem de um chatbot?</a:t>
        </a:r>
      </a:p>
    </p188:txBody>
  </p188:cm>
</p188:cmLst>
</file>

<file path=ppt/comments/modernComment_1C4_9F28CB84.xml><?xml version="1.0" encoding="utf-8"?>
<p188:cmLst xmlns:a="http://schemas.openxmlformats.org/drawingml/2006/main" xmlns:r="http://schemas.openxmlformats.org/officeDocument/2006/relationships" xmlns:p188="http://schemas.microsoft.com/office/powerpoint/2018/8/main">
  <p188:cm id="{EB12F08E-0C0A-413A-A8B1-41BDF883CD02}" authorId="{D99C7F71-8F77-B72A-3BE5-7335D0F6B301}" status="resolved" created="2024-11-15T17:30:44.848" startDate="2024-11-15T17:31:23.917" dueDate="2024-11-15T17:31:23.917" assignedTo="{1ECC47AF-94CF-9FD1-8357-725E0F66E5F4}" complete="100000" title="@Oliveira, Cristina Costa ">
    <ac:deMkLst xmlns:ac="http://schemas.microsoft.com/office/drawing/2013/main/command">
      <pc:docMk xmlns:pc="http://schemas.microsoft.com/office/powerpoint/2013/main/command"/>
      <pc:sldMk xmlns:pc="http://schemas.microsoft.com/office/powerpoint/2013/main/command" cId="2670250884" sldId="452"/>
      <ac:spMk id="19" creationId="{9D3DFC6A-FDC9-D24F-8AF4-5A97FFB2B687}"/>
    </ac:deMkLst>
    <p188:replyLst>
      <p188:reply id="{608980DA-26B4-4BC6-97CC-5FC3B392C9F7}" authorId="{D99C7F71-8F77-B72A-3BE5-7335D0F6B301}" created="2024-11-15T17:31:23.917">
        <p188:txBody>
          <a:bodyPr/>
          <a:lstStyle/>
          <a:p>
            <a:r>
              <a:rPr lang="pt-PT"/>
              <a:t>[@Oliveira, Cristina Costa] </a:t>
            </a:r>
          </a:p>
        </p188:txBody>
      </p188:reply>
      <p188:reply id="{5F994C83-F136-45B9-80AE-A3DBC22FDFA7}" authorId="{1ECC47AF-94CF-9FD1-8357-725E0F66E5F4}" created="2024-11-15T17:55:10.377">
        <p188:txBody>
          <a:bodyPr/>
          <a:lstStyle/>
          <a:p>
            <a:r>
              <a:rPr lang="pt-PT"/>
              <a:t>Alterado</a:t>
            </a:r>
          </a:p>
        </p188:txBody>
      </p188:reply>
    </p188:replyLst>
    <p188:txBody>
      <a:bodyPr/>
      <a:lstStyle/>
      <a:p>
        <a:r>
          <a:rPr lang="pt-PT"/>
          <a:t>Não me faz sentido a equipa estar aqui meio perdida. Acho que nem precisa de estar aqui! Ou então fica no inicio! </a:t>
        </a:r>
      </a:p>
    </p188:txBody>
    <p188:extLst>
      <p:ext xmlns:p="http://schemas.openxmlformats.org/presentationml/2006/main" uri="{5BB2D875-25FF-4072-B9AC-8F64D62656EB}">
        <p228:taskDetails xmlns:p228="http://schemas.microsoft.com/office/powerpoint/2022/08/main">
          <p228:history>
            <p228:event time="2024-11-15T17:31:23.918" id="{70F3CFCB-CE99-4C0F-B2C5-38B555796B05}">
              <p228:atrbtn authorId="{D99C7F71-8F77-B72A-3BE5-7335D0F6B301}"/>
              <p228:anchr>
                <p228:comment id="{608980DA-26B4-4BC6-97CC-5FC3B392C9F7}"/>
              </p228:anchr>
              <p228:add/>
            </p228:event>
            <p228:event time="2024-11-15T17:31:23.918" id="{4105529F-84AF-461D-B20B-7799D360BE31}">
              <p228:atrbtn authorId="{D99C7F71-8F77-B72A-3BE5-7335D0F6B301}"/>
              <p228:anchr>
                <p228:comment id="{608980DA-26B4-4BC6-97CC-5FC3B392C9F7}"/>
              </p228:anchr>
              <p228:asgn authorId="{1ECC47AF-94CF-9FD1-8357-725E0F66E5F4}"/>
            </p228:event>
            <p228:event time="2024-11-15T17:31:23.918" id="{C130D156-B25A-42CC-B9C0-62166304B14B}">
              <p228:atrbtn authorId="{D99C7F71-8F77-B72A-3BE5-7335D0F6B301}"/>
              <p228:anchr>
                <p228:comment id="{608980DA-26B4-4BC6-97CC-5FC3B392C9F7}"/>
              </p228:anchr>
              <p228:date stDt="2024-11-15T17:31:23.917" endDt="2024-11-15T17:31:23.917"/>
            </p228:event>
            <p228:event time="2024-11-15T17:31:23.918" id="{87B462CA-F754-4119-A043-14FD95CBEFD4}">
              <p228:atrbtn authorId="{D99C7F71-8F77-B72A-3BE5-7335D0F6B301}"/>
              <p228:anchr>
                <p228:comment id="{608980DA-26B4-4BC6-97CC-5FC3B392C9F7}"/>
              </p228:anchr>
              <p228:title val="@Oliveira, Cristina Costa "/>
            </p228:event>
            <p228:event time="2024-11-15T17:55:16.406" id="{05A9F819-7238-47F2-A297-C51C577FBFB2}">
              <p228:atrbtn authorId="{1ECC47AF-94CF-9FD1-8357-725E0F66E5F4}"/>
              <p228:anchr>
                <p228:comment id="{00000000-0000-0000-0000-000000000000}"/>
              </p228:anchr>
              <p228:pcntCmplt val="100000"/>
            </p228:event>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19/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19/25</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2580203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960237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1814088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21436960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606722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234706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898219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4ED35-7F82-1A57-09E1-3BEF0161BD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06AC86-16B1-33BB-BD58-C435C3D1E492}"/>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694A776A-F926-9B4D-D3FF-21A4FA9FDE5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3FECE4D-0B8D-83B1-E6E7-54884DE91F6B}"/>
              </a:ext>
            </a:extLst>
          </p:cNvPr>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801674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E48E6-7654-16EB-7BCB-7C4C0D27DE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B49441-2E5E-8BDB-83FC-A7B8E9AF5EE9}"/>
              </a:ext>
            </a:extLst>
          </p:cNvPr>
          <p:cNvSpPr>
            <a:spLocks noGrp="1" noRot="1" noChangeAspect="1"/>
          </p:cNvSpPr>
          <p:nvPr>
            <p:ph type="sldImg"/>
          </p:nvPr>
        </p:nvSpPr>
        <p:spPr>
          <a:xfrm>
            <a:off x="458788" y="720725"/>
            <a:ext cx="6397625" cy="3598863"/>
          </a:xfrm>
        </p:spPr>
      </p:sp>
      <p:sp>
        <p:nvSpPr>
          <p:cNvPr id="3" name="Notes Placeholder 2">
            <a:extLst>
              <a:ext uri="{FF2B5EF4-FFF2-40B4-BE49-F238E27FC236}">
                <a16:creationId xmlns:a16="http://schemas.microsoft.com/office/drawing/2014/main" id="{AC4FC647-E467-F172-31B4-7ED813C3BD6C}"/>
              </a:ext>
            </a:extLst>
          </p:cNvPr>
          <p:cNvSpPr>
            <a:spLocks noGrp="1"/>
          </p:cNvSpPr>
          <p:nvPr>
            <p:ph type="body" idx="1"/>
          </p:nvPr>
        </p:nvSpPr>
        <p:spPr/>
        <p:txBody>
          <a:bodyPr/>
          <a:lstStyle/>
          <a:p>
            <a:pPr marL="235194" marR="0" lvl="2" indent="0" algn="l" defTabSz="1219170" rtl="0" eaLnBrk="1" fontAlgn="auto" latinLnBrk="0" hangingPunct="1">
              <a:lnSpc>
                <a:spcPct val="130000"/>
              </a:lnSpc>
              <a:spcBef>
                <a:spcPts val="0"/>
              </a:spcBef>
              <a:spcAft>
                <a:spcPts val="600"/>
              </a:spcAft>
              <a:buClr>
                <a:schemeClr val="accent1"/>
              </a:buClr>
              <a:buSzTx/>
              <a:buFont typeface="Verdana" panose="020B0604030504040204" pitchFamily="34" charset="0"/>
              <a:buNone/>
              <a:tabLst/>
              <a:defRPr/>
            </a:pPr>
            <a:endParaRPr lang="en-GB"/>
          </a:p>
        </p:txBody>
      </p:sp>
      <p:sp>
        <p:nvSpPr>
          <p:cNvPr id="4" name="Slide Number Placeholder 3">
            <a:extLst>
              <a:ext uri="{FF2B5EF4-FFF2-40B4-BE49-F238E27FC236}">
                <a16:creationId xmlns:a16="http://schemas.microsoft.com/office/drawing/2014/main" id="{CBAA9CC6-C271-45DD-8FEF-F0FA77B3FD36}"/>
              </a:ext>
            </a:extLst>
          </p:cNvPr>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57533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718583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235194" marR="0" lvl="2" indent="0" algn="l" defTabSz="1219170" rtl="0" eaLnBrk="1" fontAlgn="auto" latinLnBrk="0" hangingPunct="1">
              <a:lnSpc>
                <a:spcPct val="130000"/>
              </a:lnSpc>
              <a:spcBef>
                <a:spcPts val="0"/>
              </a:spcBef>
              <a:spcAft>
                <a:spcPts val="600"/>
              </a:spcAft>
              <a:buClr>
                <a:schemeClr val="accent1"/>
              </a:buClr>
              <a:buSzTx/>
              <a:buFont typeface="Verdana" panose="020B0604030504040204" pitchFamily="34" charset="0"/>
              <a:buNone/>
              <a:tabLst/>
              <a:defRPr/>
            </a:pPr>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062219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235194" marR="0" lvl="2" indent="0" algn="l" defTabSz="1219170" rtl="0" eaLnBrk="1" fontAlgn="auto" latinLnBrk="0" hangingPunct="1">
              <a:lnSpc>
                <a:spcPct val="130000"/>
              </a:lnSpc>
              <a:spcBef>
                <a:spcPts val="0"/>
              </a:spcBef>
              <a:spcAft>
                <a:spcPts val="600"/>
              </a:spcAft>
              <a:buClr>
                <a:schemeClr val="accent1"/>
              </a:buClr>
              <a:buSzTx/>
              <a:buFont typeface="Verdana" panose="020B0604030504040204" pitchFamily="34" charset="0"/>
              <a:buNone/>
              <a:tabLst/>
              <a:defRPr/>
            </a:pPr>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1616928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41961980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8" name="TextBox 7"/>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9" name="TextBox 8"/>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8" name="TextBox 7"/>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9" name="TextBox 8"/>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8" name="TextBox 7"/>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bg1"/>
              </a:solidFill>
            </a:endParaRPr>
          </a:p>
        </p:txBody>
      </p:sp>
      <p:sp>
        <p:nvSpPr>
          <p:cNvPr id="9" name="TextBox 8"/>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schemeClr val="bg1"/>
                </a:solidFill>
              </a:rPr>
            </a:br>
            <a:endParaRPr lang="pt-PT" sz="600" b="1">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8" name="TextBox 7"/>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9" name="TextBox 8"/>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1348792" y="1665288"/>
            <a:ext cx="10502896" cy="4633913"/>
          </a:xfrm>
          <a:prstGeom prst="rect">
            <a:avLst/>
          </a:prstGeom>
        </p:spPr>
        <p:txBody>
          <a:bodyPr>
            <a:noAutofit/>
          </a:bodyPr>
          <a:lstStyle>
            <a:lvl1pPr>
              <a:tabLst>
                <a:tab pos="6705432" algn="r"/>
              </a:tabLst>
              <a:defRPr/>
            </a:lvl1pPr>
            <a:lvl2pPr>
              <a:tabLst>
                <a:tab pos="6705432" algn="r"/>
              </a:tabLst>
              <a:defRPr/>
            </a:lvl2pPr>
            <a:lvl3pPr marL="235194" indent="-235194">
              <a:buClr>
                <a:srgbClr val="BAE370"/>
              </a:buClr>
              <a:buFont typeface="Verdana" panose="020B0604030504040204" pitchFamily="34" charset="0"/>
              <a:buChar cha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1348792" y="736688"/>
            <a:ext cx="10502897"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1348792" y="402587"/>
            <a:ext cx="10502897"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Rectangle: Rounded Corners 13">
            <a:extLst>
              <a:ext uri="{FF2B5EF4-FFF2-40B4-BE49-F238E27FC236}">
                <a16:creationId xmlns:a16="http://schemas.microsoft.com/office/drawing/2014/main" id="{3BC519AE-40A8-CC7B-300B-16AAF9A371E1}"/>
              </a:ext>
            </a:extLst>
          </p:cNvPr>
          <p:cNvSpPr/>
          <p:nvPr userDrawn="1"/>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3BC519AE-40A8-CC7B-300B-16AAF9A371E1}"/>
              </a:ext>
            </a:extLst>
          </p:cNvPr>
          <p:cNvSpPr/>
          <p:nvPr userDrawn="1"/>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6" name="Content Placeholder 34">
            <a:extLst>
              <a:ext uri="{FF2B5EF4-FFF2-40B4-BE49-F238E27FC236}">
                <a16:creationId xmlns:a16="http://schemas.microsoft.com/office/drawing/2014/main" id="{1D618A2A-41C0-F6B5-730A-B3DDAB28B5F4}"/>
              </a:ext>
            </a:extLst>
          </p:cNvPr>
          <p:cNvPicPr>
            <a:picLocks noChangeAspect="1"/>
          </p:cNvPicPr>
          <p:nvPr userDrawn="1"/>
        </p:nvPicPr>
        <p:blipFill rotWithShape="1">
          <a:blip r:embed="rId2"/>
          <a:srcRect l="13599" r="25998"/>
          <a:stretch/>
        </p:blipFill>
        <p:spPr>
          <a:xfrm>
            <a:off x="6666933" y="-1"/>
            <a:ext cx="5525068" cy="6868245"/>
          </a:xfrm>
          <a:prstGeom prst="rect">
            <a:avLst/>
          </a:prstGeom>
        </p:spPr>
      </p:pic>
      <p:grpSp>
        <p:nvGrpSpPr>
          <p:cNvPr id="2" name="Group 1">
            <a:extLst>
              <a:ext uri="{FF2B5EF4-FFF2-40B4-BE49-F238E27FC236}">
                <a16:creationId xmlns:a16="http://schemas.microsoft.com/office/drawing/2014/main" id="{67D0BBF2-87B1-6579-D5A0-F32C7DF60050}"/>
              </a:ext>
            </a:extLst>
          </p:cNvPr>
          <p:cNvGrpSpPr/>
          <p:nvPr userDrawn="1"/>
        </p:nvGrpSpPr>
        <p:grpSpPr>
          <a:xfrm>
            <a:off x="5813547" y="0"/>
            <a:ext cx="6378453" cy="6870740"/>
            <a:chOff x="5686804" y="-49428"/>
            <a:chExt cx="6378453" cy="6917672"/>
          </a:xfrm>
        </p:grpSpPr>
        <p:sp>
          <p:nvSpPr>
            <p:cNvPr id="3" name="Rectangle 2">
              <a:extLst>
                <a:ext uri="{FF2B5EF4-FFF2-40B4-BE49-F238E27FC236}">
                  <a16:creationId xmlns:a16="http://schemas.microsoft.com/office/drawing/2014/main" id="{F31C8B6B-2CC6-34FB-FDE6-3E4F4428CFA8}"/>
                </a:ext>
              </a:extLst>
            </p:cNvPr>
            <p:cNvSpPr/>
            <p:nvPr/>
          </p:nvSpPr>
          <p:spPr>
            <a:xfrm>
              <a:off x="7576083" y="-49428"/>
              <a:ext cx="4489174" cy="6917671"/>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4" name="Right Triangle 3">
              <a:extLst>
                <a:ext uri="{FF2B5EF4-FFF2-40B4-BE49-F238E27FC236}">
                  <a16:creationId xmlns:a16="http://schemas.microsoft.com/office/drawing/2014/main" id="{A5E5D18D-A1E2-852D-1A2E-DABA41695386}"/>
                </a:ext>
              </a:extLst>
            </p:cNvPr>
            <p:cNvSpPr/>
            <p:nvPr/>
          </p:nvSpPr>
          <p:spPr bwMode="gray">
            <a:xfrm flipH="1">
              <a:off x="5686804" y="-28575"/>
              <a:ext cx="2033046" cy="6896819"/>
            </a:xfrm>
            <a:prstGeom prst="rtTriangle">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defTabSz="914400" hangingPunct="0"/>
              <a:endParaRPr lang="en-GB" sz="1800" kern="0">
                <a:solidFill>
                  <a:srgbClr val="000000"/>
                </a:solidFill>
                <a:latin typeface="Calibri" panose="020F0502020204030204" pitchFamily="34" charset="0"/>
                <a:ea typeface="Open Sans"/>
                <a:cs typeface="Calibri" panose="020F0502020204030204" pitchFamily="34" charset="0"/>
              </a:endParaRPr>
            </a:p>
          </p:txBody>
        </p:sp>
      </p:grpSp>
      <p:sp>
        <p:nvSpPr>
          <p:cNvPr id="5" name="Freeform 26">
            <a:extLst>
              <a:ext uri="{FF2B5EF4-FFF2-40B4-BE49-F238E27FC236}">
                <a16:creationId xmlns:a16="http://schemas.microsoft.com/office/drawing/2014/main" id="{33BC5963-C9CF-44EC-AA73-5FCE039903ED}"/>
              </a:ext>
            </a:extLst>
          </p:cNvPr>
          <p:cNvSpPr/>
          <p:nvPr userDrawn="1"/>
        </p:nvSpPr>
        <p:spPr>
          <a:xfrm>
            <a:off x="3181350" y="-1"/>
            <a:ext cx="5627370" cy="6868245"/>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8" name="Content Placeholder 3"/>
          <p:cNvSpPr>
            <a:spLocks noGrp="1"/>
          </p:cNvSpPr>
          <p:nvPr>
            <p:ph sz="quarter" idx="16"/>
          </p:nvPr>
        </p:nvSpPr>
        <p:spPr>
          <a:xfrm>
            <a:off x="1348792" y="1665288"/>
            <a:ext cx="6023558" cy="4633913"/>
          </a:xfrm>
          <a:prstGeom prst="rect">
            <a:avLst/>
          </a:prstGeom>
        </p:spPr>
        <p:txBody>
          <a:bodyPr>
            <a:noAutofit/>
          </a:bodyPr>
          <a:lstStyle>
            <a:lvl1pPr>
              <a:tabLst>
                <a:tab pos="6705432" algn="r"/>
              </a:tabLst>
              <a:defRPr/>
            </a:lvl1pPr>
            <a:lvl2pPr>
              <a:tabLst>
                <a:tab pos="6705432" algn="r"/>
              </a:tabLst>
              <a:defRPr/>
            </a:lvl2pPr>
            <a:lvl3pPr marL="235194" indent="-235194">
              <a:buClr>
                <a:srgbClr val="BAE370"/>
              </a:buClr>
              <a:buFont typeface="Verdana" panose="020B0604030504040204" pitchFamily="34" charset="0"/>
              <a:buChar cha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1348792" y="736688"/>
            <a:ext cx="10502897"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1348792" y="402587"/>
            <a:ext cx="10502897"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76711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
        <p:nvSpPr>
          <p:cNvPr id="13" name="TextBox 12"/>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14" name="TextBox 13"/>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747823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365450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12313251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191554398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0">
                <a:solidFill>
                  <a:schemeClr val="bg1"/>
                </a:solidFill>
                <a:latin typeface="Open Sans bold" panose="020B0806030504020204" pitchFamily="34" charset="0"/>
                <a:ea typeface="Open Sans bold" panose="020B0806030504020204" pitchFamily="34" charset="0"/>
                <a:cs typeface="Open Sans bold" panose="020B08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7" name="TextBox 6"/>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123817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7" name="Title 1"/>
          <p:cNvSpPr>
            <a:spLocks noGrp="1"/>
          </p:cNvSpPr>
          <p:nvPr>
            <p:ph type="title"/>
          </p:nvPr>
        </p:nvSpPr>
        <p:spPr bwMode="gray">
          <a:xfrm>
            <a:off x="469900" y="1700213"/>
            <a:ext cx="10418233" cy="1592403"/>
          </a:xfrm>
        </p:spPr>
        <p:txBody>
          <a:bodyPr anchor="b"/>
          <a:lstStyle>
            <a:lvl1pPr>
              <a:lnSpc>
                <a:spcPct val="95000"/>
              </a:lnSpc>
              <a:defRPr sz="3850" b="0">
                <a:solidFill>
                  <a:schemeClr val="bg1"/>
                </a:solidFill>
                <a:latin typeface="Open Sans bold" panose="020B0806030504020204" pitchFamily="34" charset="0"/>
                <a:ea typeface="Open Sans bold" panose="020B0806030504020204" pitchFamily="34" charset="0"/>
                <a:cs typeface="Open Sans bold" panose="020B0806030504020204" pitchFamily="34" charset="0"/>
              </a:defRPr>
            </a:lvl1pPr>
          </a:lstStyle>
          <a:p>
            <a:r>
              <a:rPr lang="en-US" noProof="0"/>
              <a:t>Click to edit Master title style</a:t>
            </a:r>
          </a:p>
        </p:txBody>
      </p:sp>
      <p:sp>
        <p:nvSpPr>
          <p:cNvPr id="8" name="TextBox 7"/>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60587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10" name="Title 1"/>
          <p:cNvSpPr>
            <a:spLocks noGrp="1"/>
          </p:cNvSpPr>
          <p:nvPr>
            <p:ph type="title"/>
          </p:nvPr>
        </p:nvSpPr>
        <p:spPr bwMode="gray">
          <a:xfrm>
            <a:off x="469900" y="1700213"/>
            <a:ext cx="10418233" cy="1592403"/>
          </a:xfrm>
        </p:spPr>
        <p:txBody>
          <a:bodyPr anchor="b"/>
          <a:lstStyle>
            <a:lvl1pPr>
              <a:lnSpc>
                <a:spcPct val="95000"/>
              </a:lnSpc>
              <a:defRPr sz="3850" b="0">
                <a:solidFill>
                  <a:schemeClr val="bg1"/>
                </a:solidFill>
                <a:latin typeface="Open Sans bold" panose="020B0806030504020204" pitchFamily="34" charset="0"/>
                <a:ea typeface="Open Sans bold" panose="020B0806030504020204" pitchFamily="34" charset="0"/>
                <a:cs typeface="Open Sans bold" panose="020B0806030504020204" pitchFamily="34" charset="0"/>
              </a:defRPr>
            </a:lvl1pPr>
          </a:lstStyle>
          <a:p>
            <a:r>
              <a:rPr lang="en-US" noProof="0"/>
              <a:t>Click to edit Master title style</a:t>
            </a:r>
          </a:p>
        </p:txBody>
      </p:sp>
      <p:sp>
        <p:nvSpPr>
          <p:cNvPr id="11" name="TextBox 10"/>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7629369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7" name="Title 1"/>
          <p:cNvSpPr>
            <a:spLocks noGrp="1"/>
          </p:cNvSpPr>
          <p:nvPr>
            <p:ph type="title"/>
          </p:nvPr>
        </p:nvSpPr>
        <p:spPr bwMode="gray">
          <a:xfrm>
            <a:off x="469900" y="1700213"/>
            <a:ext cx="10418233" cy="1592403"/>
          </a:xfrm>
        </p:spPr>
        <p:txBody>
          <a:bodyPr anchor="b"/>
          <a:lstStyle>
            <a:lvl1pPr>
              <a:lnSpc>
                <a:spcPct val="95000"/>
              </a:lnSpc>
              <a:defRPr sz="3850" b="0">
                <a:solidFill>
                  <a:schemeClr val="bg1"/>
                </a:solidFill>
                <a:latin typeface="Open Sans bold" panose="020B0806030504020204" pitchFamily="34" charset="0"/>
                <a:ea typeface="Open Sans bold" panose="020B0806030504020204" pitchFamily="34" charset="0"/>
                <a:cs typeface="Open Sans bold" panose="020B0806030504020204" pitchFamily="34" charset="0"/>
              </a:defRPr>
            </a:lvl1pPr>
          </a:lstStyle>
          <a:p>
            <a:r>
              <a:rPr lang="en-US" noProof="0"/>
              <a:t>Click to edit Master title style</a:t>
            </a:r>
          </a:p>
        </p:txBody>
      </p:sp>
      <p:sp>
        <p:nvSpPr>
          <p:cNvPr id="8" name="TextBox 7"/>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0525729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9" name="TextBox 8"/>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10" name="TextBox 9"/>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7" name="Title 1"/>
          <p:cNvSpPr>
            <a:spLocks noGrp="1"/>
          </p:cNvSpPr>
          <p:nvPr>
            <p:ph type="title"/>
          </p:nvPr>
        </p:nvSpPr>
        <p:spPr bwMode="gray">
          <a:xfrm>
            <a:off x="469900" y="1700213"/>
            <a:ext cx="10418233" cy="1592403"/>
          </a:xfrm>
        </p:spPr>
        <p:txBody>
          <a:bodyPr anchor="b"/>
          <a:lstStyle>
            <a:lvl1pPr>
              <a:lnSpc>
                <a:spcPct val="95000"/>
              </a:lnSpc>
              <a:defRPr sz="3850" b="0">
                <a:solidFill>
                  <a:schemeClr val="bg1"/>
                </a:solidFill>
                <a:latin typeface="Open Sans bold" panose="020B0806030504020204" pitchFamily="34" charset="0"/>
                <a:ea typeface="Open Sans bold" panose="020B0806030504020204" pitchFamily="34" charset="0"/>
                <a:cs typeface="Open Sans bold" panose="020B0806030504020204" pitchFamily="34" charset="0"/>
              </a:defRPr>
            </a:lvl1pPr>
          </a:lstStyle>
          <a:p>
            <a:r>
              <a:rPr lang="en-US" noProof="0"/>
              <a:t>Click to edit Master title style</a:t>
            </a:r>
          </a:p>
        </p:txBody>
      </p:sp>
      <p:sp>
        <p:nvSpPr>
          <p:cNvPr id="8" name="TextBox 7"/>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0097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4" name="Title 1"/>
          <p:cNvSpPr>
            <a:spLocks noGrp="1"/>
          </p:cNvSpPr>
          <p:nvPr>
            <p:ph type="title"/>
          </p:nvPr>
        </p:nvSpPr>
        <p:spPr bwMode="gray">
          <a:xfrm>
            <a:off x="469900" y="1700213"/>
            <a:ext cx="10418233" cy="1592403"/>
          </a:xfrm>
        </p:spPr>
        <p:txBody>
          <a:bodyPr anchor="b"/>
          <a:lstStyle>
            <a:lvl1pPr>
              <a:lnSpc>
                <a:spcPct val="95000"/>
              </a:lnSpc>
              <a:defRPr sz="3850" b="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9974260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6" name="TextBox 5"/>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9890816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6" name="TextBox 5"/>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29536081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6" name="TextBox 5"/>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66629769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6" name="TextBox 5"/>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7.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0724232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193407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986948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201470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255488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9" name="TextBox 8"/>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10" name="TextBox 9"/>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197957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1693079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3820505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704932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1812406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1259523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59962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3201385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11835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168824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TextBox 6"/>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8" name="TextBox 7"/>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8831807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4635003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756883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224680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60224121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0855074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9881550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050551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prstClr val="white"/>
              </a:solidFill>
            </a:endParaRPr>
          </a:p>
        </p:txBody>
      </p:sp>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
        <p:nvSpPr>
          <p:cNvPr id="12" name="TextBox 11"/>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TextBox 1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81417663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570998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9" name="TextBox 8"/>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10" name="TextBox 9"/>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9.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787457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47044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17" name="TextBox 16"/>
          <p:cNvSpPr txBox="1"/>
          <p:nvPr userDrawn="1"/>
        </p:nvSpPr>
        <p:spPr>
          <a:xfrm>
            <a:off x="6336000" y="6476999"/>
            <a:ext cx="4896560" cy="100027"/>
          </a:xfrm>
          <a:prstGeom prst="rect">
            <a:avLst/>
          </a:prstGeom>
          <a:noFill/>
        </p:spPr>
        <p:txBody>
          <a:bodyPr wrap="square" lIns="0" tIns="0" rIns="0" bIns="0" rtlCol="0">
            <a:spAutoFit/>
          </a:bodyPr>
          <a:lstStyle/>
          <a:p>
            <a:pPr algn="r">
              <a:buSzPct val="100000"/>
              <a:buFont typeface="Arial"/>
              <a:buNone/>
            </a:pPr>
            <a:r>
              <a:rPr lang="en-GB" sz="65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ecruitment campaign </a:t>
            </a:r>
            <a:endParaRPr lang="en-GB" sz="65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TextBox 1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pt-PT" sz="65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2019. Para informações, contacte </a:t>
            </a:r>
            <a:r>
              <a:rPr lang="pt-PT" sz="650" err="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WeShare</a:t>
            </a:r>
            <a:r>
              <a:rPr lang="pt-PT" sz="65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 Serviços de Gestão, S.A.</a:t>
            </a:r>
            <a:endParaRPr lang="pt-PT" sz="65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064616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9" name="TextBox 8"/>
          <p:cNvSpPr txBox="1"/>
          <p:nvPr userDrawn="1"/>
        </p:nvSpPr>
        <p:spPr>
          <a:xfrm>
            <a:off x="5986409" y="6476999"/>
            <a:ext cx="5245336" cy="192360"/>
          </a:xfrm>
          <a:prstGeom prst="rect">
            <a:avLst/>
          </a:prstGeom>
          <a:noFill/>
        </p:spPr>
        <p:txBody>
          <a:bodyPr wrap="square" lIns="0" tIns="0" rIns="0" bIns="0" rtlCol="0">
            <a:spAutoFit/>
          </a:bodyPr>
          <a:lstStyle/>
          <a:p>
            <a:pPr algn="r" defTabSz="914400">
              <a:buSzPct val="100000"/>
              <a:buFont typeface="Arial"/>
              <a:buNone/>
            </a:pPr>
            <a:r>
              <a:rPr lang="en-US" sz="650">
                <a:solidFill>
                  <a:schemeClr val="bg1"/>
                </a:solidFill>
              </a:rPr>
              <a:t>Deloitte Tech Experience - Business Case</a:t>
            </a:r>
          </a:p>
          <a:p>
            <a:pPr algn="r" defTabSz="914400">
              <a:buSzPct val="100000"/>
              <a:buFont typeface="Arial"/>
              <a:buNone/>
            </a:pPr>
            <a:endParaRPr lang="en-US" sz="600" b="1">
              <a:solidFill>
                <a:schemeClr val="accent5"/>
              </a:solidFill>
            </a:endParaRPr>
          </a:p>
        </p:txBody>
      </p:sp>
      <p:sp>
        <p:nvSpPr>
          <p:cNvPr id="10" name="TextBox 9"/>
          <p:cNvSpPr txBox="1"/>
          <p:nvPr userDrawn="1"/>
        </p:nvSpPr>
        <p:spPr>
          <a:xfrm>
            <a:off x="501649" y="6477000"/>
            <a:ext cx="5682903" cy="192360"/>
          </a:xfrm>
          <a:prstGeom prst="rect">
            <a:avLst/>
          </a:prstGeom>
          <a:noFill/>
        </p:spPr>
        <p:txBody>
          <a:bodyPr wrap="square" lIns="0" tIns="0" rIns="0" bIns="0" rtlCol="0">
            <a:spAutoFit/>
          </a:bodyPr>
          <a:lstStyle/>
          <a:p>
            <a:pPr defTabSz="914400">
              <a:spcBef>
                <a:spcPts val="600"/>
              </a:spcBef>
              <a:buSzPct val="100000"/>
              <a:buFont typeface="Arial"/>
              <a:buNone/>
            </a:pPr>
            <a:r>
              <a:rPr lang="pt-PT" sz="650">
                <a:solidFill>
                  <a:schemeClr val="bg1"/>
                </a:solidFill>
              </a:rPr>
              <a:t>© 2017. Para informações, contacte Deloitte Consultores S.A.</a:t>
            </a:r>
            <a:br>
              <a:rPr lang="pt-PT" sz="650">
                <a:solidFill>
                  <a:prstClr val="black"/>
                </a:solidFill>
              </a:rPr>
            </a:br>
            <a:endParaRPr lang="pt-PT" sz="600" b="1">
              <a:solidFill>
                <a:schemeClr val="accent5"/>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theme" Target="../theme/theme2.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image" Target="../media/image1.emf"/><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oleObject" Target="../embeddings/oleObject2.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tags" Target="../tags/tag3.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0" Type="http://schemas.openxmlformats.org/officeDocument/2006/relationships/slideLayout" Target="../slideLayouts/slideLayout61.xml"/><Relationship Id="rId41"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userDrawn="1"/>
        </p:nvSpPr>
        <p:spPr>
          <a:xfrm>
            <a:off x="6336000" y="6476999"/>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Deloitte Tech Experience - Tech Challenge</a:t>
            </a:r>
            <a:br>
              <a:rPr lang="en-US" sz="650" noProof="0">
                <a:solidFill>
                  <a:schemeClr val="tx1"/>
                </a:solidFill>
              </a:rPr>
            </a:br>
            <a:endParaRPr lang="en-US" sz="650" b="1" noProof="0">
              <a:solidFill>
                <a:schemeClr val="accent5"/>
              </a:solidFill>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pt-PT" sz="650" noProof="0" dirty="0">
                <a:solidFill>
                  <a:schemeClr val="tx1"/>
                </a:solidFill>
              </a:rPr>
              <a:t>© 2025. For more </a:t>
            </a:r>
            <a:r>
              <a:rPr lang="pt-PT" sz="650" noProof="0" dirty="0" err="1">
                <a:solidFill>
                  <a:schemeClr val="tx1"/>
                </a:solidFill>
              </a:rPr>
              <a:t>information</a:t>
            </a:r>
            <a:r>
              <a:rPr lang="pt-PT" sz="650" noProof="0" dirty="0">
                <a:solidFill>
                  <a:schemeClr val="tx1"/>
                </a:solidFill>
              </a:rPr>
              <a:t>, </a:t>
            </a:r>
            <a:r>
              <a:rPr lang="pt-PT" sz="650" noProof="0" dirty="0" err="1">
                <a:solidFill>
                  <a:schemeClr val="tx1"/>
                </a:solidFill>
              </a:rPr>
              <a:t>contact</a:t>
            </a:r>
            <a:r>
              <a:rPr lang="pt-PT" sz="650" noProof="0" dirty="0">
                <a:solidFill>
                  <a:schemeClr val="tx1"/>
                </a:solidFill>
              </a:rPr>
              <a:t> </a:t>
            </a:r>
            <a:r>
              <a:rPr lang="pt-PT" sz="650" noProof="0" dirty="0" err="1">
                <a:solidFill>
                  <a:schemeClr val="tx1"/>
                </a:solidFill>
              </a:rPr>
              <a:t>Deloitte</a:t>
            </a:r>
            <a:r>
              <a:rPr lang="pt-PT" sz="650" noProof="0" dirty="0">
                <a:solidFill>
                  <a:schemeClr val="tx1"/>
                </a:solidFill>
              </a:rPr>
              <a:t> </a:t>
            </a:r>
            <a:r>
              <a:rPr lang="pt-PT" sz="650" noProof="0" dirty="0" err="1">
                <a:solidFill>
                  <a:schemeClr val="tx1"/>
                </a:solidFill>
              </a:rPr>
              <a:t>Technology</a:t>
            </a:r>
            <a:r>
              <a:rPr lang="pt-PT" sz="650" noProof="0" dirty="0">
                <a:solidFill>
                  <a:schemeClr val="tx1"/>
                </a:solidFill>
              </a:rPr>
              <a:t> S.A.</a:t>
            </a:r>
            <a:endParaRPr lang="pt-PT" sz="650" b="1" noProof="0" dirty="0">
              <a:solidFill>
                <a:schemeClr val="accent5"/>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57" r:id="rId29"/>
    <p:sldLayoutId id="2147483720" r:id="rId30"/>
    <p:sldLayoutId id="2147483721" r:id="rId31"/>
    <p:sldLayoutId id="2147483722" r:id="rId32"/>
    <p:sldLayoutId id="2147483695"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pPr algn="r">
                <a:spcBef>
                  <a:spcPts val="800"/>
                </a:spcBef>
                <a:buSzPct val="100000"/>
                <a:buFont typeface="Arial"/>
                <a:buNone/>
              </a:pPr>
              <a:t>‹#›</a:t>
            </a:fld>
            <a:endParaRPr lang="en-US" sz="65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extBox 2">
            <a:extLst>
              <a:ext uri="{FF2B5EF4-FFF2-40B4-BE49-F238E27FC236}">
                <a16:creationId xmlns:a16="http://schemas.microsoft.com/office/drawing/2014/main" id="{DA9EF066-8ED4-3577-D95C-883EC3538A4C}"/>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Deloitte Tech Experience - Tech Challenge</a:t>
            </a:r>
            <a:endParaRPr lang="en-US" sz="650" b="1" noProof="0">
              <a:solidFill>
                <a:schemeClr val="accent5"/>
              </a:solidFill>
            </a:endParaRPr>
          </a:p>
        </p:txBody>
      </p:sp>
      <p:sp>
        <p:nvSpPr>
          <p:cNvPr id="5" name="TextBox 4">
            <a:extLst>
              <a:ext uri="{FF2B5EF4-FFF2-40B4-BE49-F238E27FC236}">
                <a16:creationId xmlns:a16="http://schemas.microsoft.com/office/drawing/2014/main" id="{41F81A2D-5B5D-9918-738D-0B4EEC0E393A}"/>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pt-PT" sz="650" noProof="0">
                <a:solidFill>
                  <a:schemeClr val="tx1"/>
                </a:solidFill>
              </a:rPr>
              <a:t>© 2024. Para informações, contacte Deloitte </a:t>
            </a:r>
            <a:r>
              <a:rPr lang="pt-PT" sz="650" noProof="0" err="1">
                <a:solidFill>
                  <a:schemeClr val="tx1"/>
                </a:solidFill>
              </a:rPr>
              <a:t>Technology</a:t>
            </a:r>
            <a:r>
              <a:rPr lang="pt-PT" sz="650" noProof="0">
                <a:solidFill>
                  <a:schemeClr val="tx1"/>
                </a:solidFill>
              </a:rPr>
              <a:t> S.A.</a:t>
            </a:r>
            <a:endParaRPr lang="pt-PT" sz="650" b="1" noProof="0">
              <a:solidFill>
                <a:schemeClr val="accent5"/>
              </a:solidFill>
            </a:endParaRPr>
          </a:p>
        </p:txBody>
      </p:sp>
    </p:spTree>
    <p:extLst>
      <p:ext uri="{BB962C8B-B14F-4D97-AF65-F5344CB8AC3E}">
        <p14:creationId xmlns:p14="http://schemas.microsoft.com/office/powerpoint/2010/main" val="66542173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1" r:id="rId39"/>
    <p:sldLayoutId id="2147483842" r:id="rId40"/>
    <p:sldLayoutId id="2147483843" r:id="rId41"/>
  </p:sldLayoutIdLst>
  <p:transition>
    <p:fade/>
  </p:transition>
  <p:hf hdr="0" dt="0"/>
  <p:txStyles>
    <p:titleStyle>
      <a:lvl1pPr algn="l" defTabSz="1219170" rtl="0" eaLnBrk="1" latinLnBrk="0" hangingPunct="1">
        <a:spcBef>
          <a:spcPct val="0"/>
        </a:spcBef>
        <a:buNone/>
        <a:defRPr sz="2000" kern="120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7.svg"/><Relationship Id="rId2" Type="http://schemas.openxmlformats.org/officeDocument/2006/relationships/notesSlide" Target="../notesSlides/notesSlide10.xml"/><Relationship Id="rId1" Type="http://schemas.openxmlformats.org/officeDocument/2006/relationships/slideLayout" Target="../slideLayouts/slideLayout29.xml"/><Relationship Id="rId6" Type="http://schemas.openxmlformats.org/officeDocument/2006/relationships/image" Target="../media/image6.png"/><Relationship Id="rId5" Type="http://schemas.openxmlformats.org/officeDocument/2006/relationships/image" Target="../media/image16.sv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microsoft.com/office/2018/10/relationships/comments" Target="../comments/modernComment_1C4_9F28CB84.xml"/><Relationship Id="rId7" Type="http://schemas.openxmlformats.org/officeDocument/2006/relationships/image" Target="../media/image24.png"/><Relationship Id="rId12" Type="http://schemas.openxmlformats.org/officeDocument/2006/relationships/image" Target="../media/image7.sv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23.png"/><Relationship Id="rId11" Type="http://schemas.openxmlformats.org/officeDocument/2006/relationships/image" Target="../media/image6.png"/><Relationship Id="rId5" Type="http://schemas.openxmlformats.org/officeDocument/2006/relationships/image" Target="../media/image22.png"/><Relationship Id="rId10" Type="http://schemas.openxmlformats.org/officeDocument/2006/relationships/image" Target="../media/image16.svg"/><Relationship Id="rId4" Type="http://schemas.openxmlformats.org/officeDocument/2006/relationships/image" Target="../media/image21.png"/><Relationship Id="rId9"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6.sv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7.xml"/><Relationship Id="rId5" Type="http://schemas.openxmlformats.org/officeDocument/2006/relationships/image" Target="../media/image7.sv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8.xml"/><Relationship Id="rId5" Type="http://schemas.openxmlformats.org/officeDocument/2006/relationships/image" Target="../media/image13.png"/><Relationship Id="rId4" Type="http://schemas.openxmlformats.org/officeDocument/2006/relationships/image" Target="../media/image7.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6.sv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6.svg"/></Relationships>
</file>

<file path=ppt/slides/_rels/slide9.xml.rels><?xml version="1.0" encoding="UTF-8" standalone="yes"?>
<Relationships xmlns="http://schemas.openxmlformats.org/package/2006/relationships"><Relationship Id="rId8" Type="http://schemas.openxmlformats.org/officeDocument/2006/relationships/image" Target="../media/image7.svg"/><Relationship Id="rId3" Type="http://schemas.microsoft.com/office/2018/10/relationships/comments" Target="../comments/modernComment_1C3_F5C98791.xml"/><Relationship Id="rId7"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475200" y="5530390"/>
            <a:ext cx="5592012" cy="324000"/>
          </a:xfrm>
        </p:spPr>
        <p:txBody>
          <a:bodyPr/>
          <a:lstStyle/>
          <a:p>
            <a:r>
              <a:rPr lang="en-US" noProof="0"/>
              <a:t>Headline Verdana Bold</a:t>
            </a:r>
          </a:p>
        </p:txBody>
      </p:sp>
      <p:grpSp>
        <p:nvGrpSpPr>
          <p:cNvPr id="10" name="Group 9"/>
          <p:cNvGrpSpPr>
            <a:grpSpLocks noChangeAspect="1"/>
          </p:cNvGrpSpPr>
          <p:nvPr/>
        </p:nvGrpSpPr>
        <p:grpSpPr>
          <a:xfrm>
            <a:off x="469900" y="457761"/>
            <a:ext cx="1998000" cy="374400"/>
            <a:chOff x="398463" y="404813"/>
            <a:chExt cx="1627187" cy="307976"/>
          </a:xfrm>
          <a:solidFill>
            <a:schemeClr val="tx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21" name="Subtitle 3"/>
          <p:cNvSpPr txBox="1">
            <a:spLocks/>
          </p:cNvSpPr>
          <p:nvPr/>
        </p:nvSpPr>
        <p:spPr bwMode="gray">
          <a:xfrm>
            <a:off x="6130089" y="5845180"/>
            <a:ext cx="5592011" cy="505645"/>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algn="r"/>
            <a:r>
              <a:rPr lang="en-US" b="0">
                <a:solidFill>
                  <a:prstClr val="white"/>
                </a:solidFill>
                <a:latin typeface="Open Sans bold" panose="020B0806030504020204" pitchFamily="34" charset="0"/>
                <a:ea typeface="Open Sans bold" panose="020B0806030504020204" pitchFamily="34" charset="0"/>
                <a:cs typeface="Open Sans bold" panose="020B0806030504020204" pitchFamily="34" charset="0"/>
              </a:rPr>
              <a:t>What impact will you make?</a:t>
            </a:r>
          </a:p>
          <a:p>
            <a:pPr algn="r"/>
            <a:r>
              <a:rPr lang="en-US">
                <a:solidFill>
                  <a:srgbClr val="86BC25"/>
                </a:solidFill>
              </a:rPr>
              <a:t>www.deloitte.com/pt/careers</a:t>
            </a:r>
          </a:p>
        </p:txBody>
      </p:sp>
      <p:sp>
        <p:nvSpPr>
          <p:cNvPr id="25" name="Subtitle 3"/>
          <p:cNvSpPr>
            <a:spLocks noGrp="1"/>
          </p:cNvSpPr>
          <p:nvPr>
            <p:ph type="subTitle" idx="1"/>
          </p:nvPr>
        </p:nvSpPr>
        <p:spPr>
          <a:xfrm>
            <a:off x="475200" y="5845180"/>
            <a:ext cx="5592011" cy="505645"/>
          </a:xfrm>
        </p:spPr>
        <p:txBody>
          <a:bodyPr/>
          <a:lstStyle/>
          <a:p>
            <a:r>
              <a:rPr lang="en-US">
                <a:latin typeface="+mj-lt"/>
                <a:ea typeface="Open Sans bold" panose="020B0806030504020204" pitchFamily="34" charset="0"/>
                <a:cs typeface="Open Sans bold" panose="020B0806030504020204" pitchFamily="34" charset="0"/>
              </a:rPr>
              <a:t>Say hello world</a:t>
            </a:r>
          </a:p>
          <a:p>
            <a:pPr lvl="0"/>
            <a:r>
              <a:rPr lang="en-GB" b="0">
                <a:solidFill>
                  <a:prstClr val="white"/>
                </a:solidFill>
                <a:latin typeface="Verdana"/>
                <a:ea typeface="+mn-ea"/>
                <a:cs typeface="+mn-cs"/>
              </a:rPr>
              <a:t>Deloitte Tech Experience – </a:t>
            </a:r>
            <a:r>
              <a:rPr lang="en-US" b="0">
                <a:solidFill>
                  <a:prstClr val="white"/>
                </a:solidFill>
                <a:latin typeface="Verdana"/>
                <a:ea typeface="+mn-ea"/>
                <a:cs typeface="+mn-cs"/>
              </a:rPr>
              <a:t>Tech Challenge</a:t>
            </a:r>
          </a:p>
        </p:txBody>
      </p:sp>
      <p:pic>
        <p:nvPicPr>
          <p:cNvPr id="23" name="Picture 22">
            <a:extLst>
              <a:ext uri="{FF2B5EF4-FFF2-40B4-BE49-F238E27FC236}">
                <a16:creationId xmlns:a16="http://schemas.microsoft.com/office/drawing/2014/main" id="{C2E18686-310A-4941-90F2-1F2883F00D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83112" y="1110536"/>
            <a:ext cx="4425776" cy="4425776"/>
          </a:xfrm>
          <a:prstGeom prst="rect">
            <a:avLst/>
          </a:prstGeom>
        </p:spPr>
      </p:pic>
    </p:spTree>
    <p:extLst>
      <p:ext uri="{BB962C8B-B14F-4D97-AF65-F5344CB8AC3E}">
        <p14:creationId xmlns:p14="http://schemas.microsoft.com/office/powerpoint/2010/main" val="227169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Content Placeholder 1">
            <a:extLst>
              <a:ext uri="{FF2B5EF4-FFF2-40B4-BE49-F238E27FC236}">
                <a16:creationId xmlns:a16="http://schemas.microsoft.com/office/drawing/2014/main" id="{69014E3D-AFF1-24F8-919B-419BD8064DF2}"/>
              </a:ext>
            </a:extLst>
          </p:cNvPr>
          <p:cNvPicPr>
            <a:picLocks noChangeAspect="1"/>
          </p:cNvPicPr>
          <p:nvPr/>
        </p:nvPicPr>
        <p:blipFill>
          <a:blip r:embed="rId3"/>
          <a:srcRect l="22297" r="22297"/>
          <a:stretch/>
        </p:blipFill>
        <p:spPr>
          <a:xfrm>
            <a:off x="5549746" y="-10245"/>
            <a:ext cx="6768378" cy="6868245"/>
          </a:xfrm>
          <a:prstGeom prst="rect">
            <a:avLst/>
          </a:prstGeom>
        </p:spPr>
      </p:pic>
      <p:grpSp>
        <p:nvGrpSpPr>
          <p:cNvPr id="70" name="Group 69">
            <a:extLst>
              <a:ext uri="{FF2B5EF4-FFF2-40B4-BE49-F238E27FC236}">
                <a16:creationId xmlns:a16="http://schemas.microsoft.com/office/drawing/2014/main" id="{BEE1A486-016F-A250-9908-EA17C6E885EF}"/>
              </a:ext>
            </a:extLst>
          </p:cNvPr>
          <p:cNvGrpSpPr/>
          <p:nvPr/>
        </p:nvGrpSpPr>
        <p:grpSpPr>
          <a:xfrm>
            <a:off x="6590692" y="0"/>
            <a:ext cx="5727432" cy="6868244"/>
            <a:chOff x="6464568" y="-49428"/>
            <a:chExt cx="5727432" cy="6917672"/>
          </a:xfrm>
        </p:grpSpPr>
        <p:sp>
          <p:nvSpPr>
            <p:cNvPr id="71" name="Rectangle 70">
              <a:extLst>
                <a:ext uri="{FF2B5EF4-FFF2-40B4-BE49-F238E27FC236}">
                  <a16:creationId xmlns:a16="http://schemas.microsoft.com/office/drawing/2014/main" id="{857B9BBA-454B-B8D0-BAF4-661DFA9D1377}"/>
                </a:ext>
              </a:extLst>
            </p:cNvPr>
            <p:cNvSpPr/>
            <p:nvPr/>
          </p:nvSpPr>
          <p:spPr>
            <a:xfrm>
              <a:off x="8671034" y="-49428"/>
              <a:ext cx="3520966" cy="6917671"/>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72" name="Right Triangle 71">
              <a:extLst>
                <a:ext uri="{FF2B5EF4-FFF2-40B4-BE49-F238E27FC236}">
                  <a16:creationId xmlns:a16="http://schemas.microsoft.com/office/drawing/2014/main" id="{8D826358-535F-8594-8A8F-45F1B0F83364}"/>
                </a:ext>
              </a:extLst>
            </p:cNvPr>
            <p:cNvSpPr/>
            <p:nvPr/>
          </p:nvSpPr>
          <p:spPr bwMode="gray">
            <a:xfrm flipH="1">
              <a:off x="6464568" y="-28575"/>
              <a:ext cx="2206466" cy="6896819"/>
            </a:xfrm>
            <a:prstGeom prst="rtTriangle">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defTabSz="914400" hangingPunct="0"/>
              <a:endParaRPr lang="en-GB" sz="1800" kern="0">
                <a:solidFill>
                  <a:srgbClr val="000000"/>
                </a:solidFill>
                <a:latin typeface="Calibri" panose="020F0502020204030204" pitchFamily="34" charset="0"/>
                <a:ea typeface="Open Sans"/>
                <a:cs typeface="Calibri" panose="020F0502020204030204" pitchFamily="34" charset="0"/>
              </a:endParaRPr>
            </a:p>
          </p:txBody>
        </p:sp>
      </p:grpSp>
      <p:sp>
        <p:nvSpPr>
          <p:cNvPr id="2" name="Freeform 26">
            <a:extLst>
              <a:ext uri="{FF2B5EF4-FFF2-40B4-BE49-F238E27FC236}">
                <a16:creationId xmlns:a16="http://schemas.microsoft.com/office/drawing/2014/main" id="{439087B6-B43E-CC30-6F07-4C9B6805071E}"/>
              </a:ext>
            </a:extLst>
          </p:cNvPr>
          <p:cNvSpPr/>
          <p:nvPr/>
        </p:nvSpPr>
        <p:spPr>
          <a:xfrm>
            <a:off x="3771076" y="-10245"/>
            <a:ext cx="5037644" cy="6878489"/>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58" name="Text Placeholder 5">
            <a:extLst>
              <a:ext uri="{FF2B5EF4-FFF2-40B4-BE49-F238E27FC236}">
                <a16:creationId xmlns:a16="http://schemas.microsoft.com/office/drawing/2014/main" id="{2310B6FE-8A22-D603-A9E6-78F62F0ACE53}"/>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Sample Questions</a:t>
            </a:r>
            <a:endParaRPr lang="en-US" noProof="0"/>
          </a:p>
        </p:txBody>
      </p:sp>
      <p:sp>
        <p:nvSpPr>
          <p:cNvPr id="59" name="Title 2">
            <a:extLst>
              <a:ext uri="{FF2B5EF4-FFF2-40B4-BE49-F238E27FC236}">
                <a16:creationId xmlns:a16="http://schemas.microsoft.com/office/drawing/2014/main" id="{5084743A-DA06-CFC6-76E3-87FB51BBCABF}"/>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a:t>Deloitte Tech Experience</a:t>
            </a:r>
          </a:p>
        </p:txBody>
      </p:sp>
      <p:sp>
        <p:nvSpPr>
          <p:cNvPr id="5" name="Content Placeholder 4"/>
          <p:cNvSpPr>
            <a:spLocks noGrp="1"/>
          </p:cNvSpPr>
          <p:nvPr>
            <p:ph sz="quarter" idx="16"/>
          </p:nvPr>
        </p:nvSpPr>
        <p:spPr>
          <a:xfrm>
            <a:off x="1348792" y="1377773"/>
            <a:ext cx="5814000" cy="4633913"/>
          </a:xfrm>
        </p:spPr>
        <p:txBody>
          <a:bodyPr/>
          <a:lstStyle/>
          <a:p>
            <a:pPr algn="just">
              <a:lnSpc>
                <a:spcPct val="130000"/>
              </a:lnSpc>
              <a:spcAft>
                <a:spcPts val="600"/>
              </a:spcAft>
              <a:buClr>
                <a:schemeClr val="accent1"/>
              </a:buClr>
            </a:pPr>
            <a:r>
              <a:rPr lang="en-US" sz="1100" b="1" dirty="0"/>
              <a:t>Your chatbot should be able to answer questions like the following:</a:t>
            </a:r>
          </a:p>
          <a:p>
            <a:pPr marL="182563" indent="-182563" algn="just">
              <a:lnSpc>
                <a:spcPct val="130000"/>
              </a:lnSpc>
              <a:spcAft>
                <a:spcPts val="600"/>
              </a:spcAft>
              <a:buClr>
                <a:schemeClr val="accent1"/>
              </a:buClr>
              <a:buFont typeface="Verdana" panose="020B0604030504040204" pitchFamily="34" charset="0"/>
              <a:buChar char="»"/>
            </a:pPr>
            <a:r>
              <a:rPr lang="en-US" sz="1100" dirty="0"/>
              <a:t>What are the greenhouse gases?</a:t>
            </a:r>
          </a:p>
          <a:p>
            <a:pPr marL="182563" indent="-182563" algn="just">
              <a:lnSpc>
                <a:spcPct val="130000"/>
              </a:lnSpc>
              <a:spcAft>
                <a:spcPts val="600"/>
              </a:spcAft>
              <a:buFont typeface="Arial" panose="020B0604020202020204" pitchFamily="34" charset="0"/>
              <a:buChar char="•"/>
            </a:pPr>
            <a:endParaRPr lang="en-US" sz="500" dirty="0"/>
          </a:p>
          <a:p>
            <a:pPr marL="182563" indent="-182563" algn="just">
              <a:lnSpc>
                <a:spcPct val="130000"/>
              </a:lnSpc>
              <a:spcAft>
                <a:spcPts val="600"/>
              </a:spcAft>
              <a:buClr>
                <a:schemeClr val="accent1"/>
              </a:buClr>
              <a:buFont typeface="Verdana" panose="020B0604030504040204" pitchFamily="34" charset="0"/>
              <a:buChar char="»"/>
            </a:pPr>
            <a:r>
              <a:rPr lang="en-US" sz="1100" dirty="0"/>
              <a:t>How are indigenous people being affected by climate change?</a:t>
            </a:r>
          </a:p>
          <a:p>
            <a:pPr marL="182563" indent="-182563" algn="just">
              <a:lnSpc>
                <a:spcPct val="130000"/>
              </a:lnSpc>
              <a:spcAft>
                <a:spcPts val="600"/>
              </a:spcAft>
              <a:buClr>
                <a:schemeClr val="accent1"/>
              </a:buClr>
              <a:buFont typeface="Verdana" panose="020B0604030504040204" pitchFamily="34" charset="0"/>
              <a:buChar char="»"/>
            </a:pPr>
            <a:endParaRPr lang="en-US" sz="400" dirty="0"/>
          </a:p>
          <a:p>
            <a:pPr marL="182563" indent="-182563" algn="just">
              <a:lnSpc>
                <a:spcPct val="130000"/>
              </a:lnSpc>
              <a:spcAft>
                <a:spcPts val="600"/>
              </a:spcAft>
              <a:buClr>
                <a:schemeClr val="accent1"/>
              </a:buClr>
              <a:buFont typeface="Verdana" panose="020B0604030504040204" pitchFamily="34" charset="0"/>
              <a:buChar char="»"/>
            </a:pPr>
            <a:r>
              <a:rPr lang="en-US" sz="1100" dirty="0"/>
              <a:t>What should be the percent reduction in global passenger car fleet emissions by 2050?</a:t>
            </a:r>
          </a:p>
          <a:p>
            <a:pPr marL="182563" indent="-182563" algn="just">
              <a:lnSpc>
                <a:spcPct val="130000"/>
              </a:lnSpc>
              <a:spcAft>
                <a:spcPts val="600"/>
              </a:spcAft>
              <a:buClr>
                <a:schemeClr val="accent1"/>
              </a:buClr>
              <a:buFont typeface="Verdana" panose="020B0604030504040204" pitchFamily="34" charset="0"/>
              <a:buChar char="»"/>
            </a:pPr>
            <a:endParaRPr lang="en-US" sz="500" dirty="0"/>
          </a:p>
          <a:p>
            <a:pPr marL="182563" indent="-182563" algn="just">
              <a:lnSpc>
                <a:spcPct val="130000"/>
              </a:lnSpc>
              <a:spcAft>
                <a:spcPts val="600"/>
              </a:spcAft>
              <a:buClr>
                <a:schemeClr val="accent1"/>
              </a:buClr>
              <a:buFont typeface="Verdana" panose="020B0604030504040204" pitchFamily="34" charset="0"/>
              <a:buChar char="»"/>
            </a:pPr>
            <a:r>
              <a:rPr lang="en-US" sz="1100" dirty="0"/>
              <a:t>What are emission factors, and how are they determined?</a:t>
            </a:r>
          </a:p>
          <a:p>
            <a:pPr marL="182563" indent="-182563" algn="just">
              <a:lnSpc>
                <a:spcPct val="130000"/>
              </a:lnSpc>
              <a:spcAft>
                <a:spcPts val="600"/>
              </a:spcAft>
              <a:buClr>
                <a:schemeClr val="accent1"/>
              </a:buClr>
              <a:buFont typeface="Verdana" panose="020B0604030504040204" pitchFamily="34" charset="0"/>
              <a:buChar char="»"/>
            </a:pPr>
            <a:endParaRPr lang="en-US" sz="500" dirty="0"/>
          </a:p>
          <a:p>
            <a:pPr marL="182563" indent="-182563" algn="just">
              <a:lnSpc>
                <a:spcPct val="130000"/>
              </a:lnSpc>
              <a:spcAft>
                <a:spcPts val="600"/>
              </a:spcAft>
              <a:buClr>
                <a:schemeClr val="accent1"/>
              </a:buClr>
              <a:buFont typeface="Verdana" panose="020B0604030504040204" pitchFamily="34" charset="0"/>
              <a:buChar char="»"/>
            </a:pPr>
            <a:r>
              <a:rPr lang="en-US" sz="1100" dirty="0"/>
              <a:t>What is the main problematic greenhouse gas and what are its causes?</a:t>
            </a:r>
          </a:p>
          <a:p>
            <a:pPr marL="182563" indent="-182563" algn="just">
              <a:lnSpc>
                <a:spcPct val="130000"/>
              </a:lnSpc>
              <a:spcAft>
                <a:spcPts val="600"/>
              </a:spcAft>
              <a:buClr>
                <a:schemeClr val="accent1"/>
              </a:buClr>
              <a:buFont typeface="Verdana" panose="020B0604030504040204" pitchFamily="34" charset="0"/>
              <a:buChar char="»"/>
            </a:pPr>
            <a:endParaRPr lang="en-US" sz="500" dirty="0"/>
          </a:p>
          <a:p>
            <a:pPr marL="182563" indent="-182563" algn="just">
              <a:lnSpc>
                <a:spcPct val="130000"/>
              </a:lnSpc>
              <a:spcAft>
                <a:spcPts val="600"/>
              </a:spcAft>
              <a:buClr>
                <a:schemeClr val="accent1"/>
              </a:buClr>
              <a:buFont typeface="Verdana" panose="020B0604030504040204" pitchFamily="34" charset="0"/>
              <a:buChar char="»"/>
            </a:pPr>
            <a:r>
              <a:rPr lang="en-US" sz="1100" dirty="0"/>
              <a:t>I want to give a gift to someone living in France, with an item of clothing. What do you suggest?</a:t>
            </a:r>
          </a:p>
          <a:p>
            <a:pPr algn="just">
              <a:lnSpc>
                <a:spcPct val="130000"/>
              </a:lnSpc>
              <a:spcAft>
                <a:spcPts val="600"/>
              </a:spcAft>
              <a:buClr>
                <a:schemeClr val="accent1"/>
              </a:buClr>
            </a:pPr>
            <a:endParaRPr lang="en-US" sz="1100" dirty="0"/>
          </a:p>
          <a:p>
            <a:pPr marL="182563" indent="-182563" algn="just">
              <a:lnSpc>
                <a:spcPct val="130000"/>
              </a:lnSpc>
              <a:spcAft>
                <a:spcPts val="600"/>
              </a:spcAft>
              <a:buClr>
                <a:schemeClr val="accent1"/>
              </a:buClr>
              <a:buFont typeface="Verdana" panose="020B0604030504040204" pitchFamily="34" charset="0"/>
              <a:buChar char="»"/>
            </a:pPr>
            <a:endParaRPr lang="en-US" sz="1100" dirty="0"/>
          </a:p>
        </p:txBody>
      </p:sp>
      <p:sp>
        <p:nvSpPr>
          <p:cNvPr id="9" name="Rectangle: Rounded Corners 8">
            <a:extLst>
              <a:ext uri="{FF2B5EF4-FFF2-40B4-BE49-F238E27FC236}">
                <a16:creationId xmlns:a16="http://schemas.microsoft.com/office/drawing/2014/main" id="{065D9B24-DFCE-CFB6-F2C8-721100C1829F}"/>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Graphic 1100">
            <a:extLst>
              <a:ext uri="{FF2B5EF4-FFF2-40B4-BE49-F238E27FC236}">
                <a16:creationId xmlns:a16="http://schemas.microsoft.com/office/drawing/2014/main" id="{78928C0E-2D8F-D060-153D-ACF73EF312B4}"/>
              </a:ext>
            </a:extLst>
          </p:cNvPr>
          <p:cNvSpPr>
            <a:spLocks noChangeAspect="1"/>
          </p:cNvSpPr>
          <p:nvPr/>
        </p:nvSpPr>
        <p:spPr>
          <a:xfrm>
            <a:off x="445679" y="3629341"/>
            <a:ext cx="360332" cy="360000"/>
          </a:xfrm>
          <a:custGeom>
            <a:avLst/>
            <a:gdLst>
              <a:gd name="connsiteX0" fmla="*/ 189781 w 196170"/>
              <a:gd name="connsiteY0" fmla="*/ 49795 h 195988"/>
              <a:gd name="connsiteX1" fmla="*/ 156553 w 196170"/>
              <a:gd name="connsiteY1" fmla="*/ 49795 h 195988"/>
              <a:gd name="connsiteX2" fmla="*/ 150164 w 196170"/>
              <a:gd name="connsiteY2" fmla="*/ 56179 h 195988"/>
              <a:gd name="connsiteX3" fmla="*/ 150164 w 196170"/>
              <a:gd name="connsiteY3" fmla="*/ 66393 h 195988"/>
              <a:gd name="connsiteX4" fmla="*/ 129715 w 196170"/>
              <a:gd name="connsiteY4" fmla="*/ 66393 h 195988"/>
              <a:gd name="connsiteX5" fmla="*/ 129715 w 196170"/>
              <a:gd name="connsiteY5" fmla="*/ 45965 h 195988"/>
              <a:gd name="connsiteX6" fmla="*/ 139939 w 196170"/>
              <a:gd name="connsiteY6" fmla="*/ 45965 h 195988"/>
              <a:gd name="connsiteX7" fmla="*/ 146329 w 196170"/>
              <a:gd name="connsiteY7" fmla="*/ 39581 h 195988"/>
              <a:gd name="connsiteX8" fmla="*/ 146329 w 196170"/>
              <a:gd name="connsiteY8" fmla="*/ 6384 h 195988"/>
              <a:gd name="connsiteX9" fmla="*/ 139939 w 196170"/>
              <a:gd name="connsiteY9" fmla="*/ 0 h 195988"/>
              <a:gd name="connsiteX10" fmla="*/ 106712 w 196170"/>
              <a:gd name="connsiteY10" fmla="*/ 0 h 195988"/>
              <a:gd name="connsiteX11" fmla="*/ 100322 w 196170"/>
              <a:gd name="connsiteY11" fmla="*/ 6384 h 195988"/>
              <a:gd name="connsiteX12" fmla="*/ 100322 w 196170"/>
              <a:gd name="connsiteY12" fmla="*/ 16598 h 195988"/>
              <a:gd name="connsiteX13" fmla="*/ 46007 w 196170"/>
              <a:gd name="connsiteY13" fmla="*/ 16598 h 195988"/>
              <a:gd name="connsiteX14" fmla="*/ 46007 w 196170"/>
              <a:gd name="connsiteY14" fmla="*/ 6384 h 195988"/>
              <a:gd name="connsiteX15" fmla="*/ 39617 w 196170"/>
              <a:gd name="connsiteY15" fmla="*/ 0 h 195988"/>
              <a:gd name="connsiteX16" fmla="*/ 6390 w 196170"/>
              <a:gd name="connsiteY16" fmla="*/ 0 h 195988"/>
              <a:gd name="connsiteX17" fmla="*/ 0 w 196170"/>
              <a:gd name="connsiteY17" fmla="*/ 6384 h 195988"/>
              <a:gd name="connsiteX18" fmla="*/ 0 w 196170"/>
              <a:gd name="connsiteY18" fmla="*/ 39581 h 195988"/>
              <a:gd name="connsiteX19" fmla="*/ 6390 w 196170"/>
              <a:gd name="connsiteY19" fmla="*/ 45965 h 195988"/>
              <a:gd name="connsiteX20" fmla="*/ 16614 w 196170"/>
              <a:gd name="connsiteY20" fmla="*/ 45965 h 195988"/>
              <a:gd name="connsiteX21" fmla="*/ 16614 w 196170"/>
              <a:gd name="connsiteY21" fmla="*/ 100228 h 195988"/>
              <a:gd name="connsiteX22" fmla="*/ 6390 w 196170"/>
              <a:gd name="connsiteY22" fmla="*/ 100228 h 195988"/>
              <a:gd name="connsiteX23" fmla="*/ 0 w 196170"/>
              <a:gd name="connsiteY23" fmla="*/ 106612 h 195988"/>
              <a:gd name="connsiteX24" fmla="*/ 0 w 196170"/>
              <a:gd name="connsiteY24" fmla="*/ 139809 h 195988"/>
              <a:gd name="connsiteX25" fmla="*/ 6390 w 196170"/>
              <a:gd name="connsiteY25" fmla="*/ 146193 h 195988"/>
              <a:gd name="connsiteX26" fmla="*/ 39617 w 196170"/>
              <a:gd name="connsiteY26" fmla="*/ 146193 h 195988"/>
              <a:gd name="connsiteX27" fmla="*/ 46007 w 196170"/>
              <a:gd name="connsiteY27" fmla="*/ 139809 h 195988"/>
              <a:gd name="connsiteX28" fmla="*/ 46007 w 196170"/>
              <a:gd name="connsiteY28" fmla="*/ 129595 h 195988"/>
              <a:gd name="connsiteX29" fmla="*/ 66455 w 196170"/>
              <a:gd name="connsiteY29" fmla="*/ 129595 h 195988"/>
              <a:gd name="connsiteX30" fmla="*/ 66455 w 196170"/>
              <a:gd name="connsiteY30" fmla="*/ 148108 h 195988"/>
              <a:gd name="connsiteX31" fmla="*/ 67094 w 196170"/>
              <a:gd name="connsiteY31" fmla="*/ 150024 h 195988"/>
              <a:gd name="connsiteX32" fmla="*/ 56231 w 196170"/>
              <a:gd name="connsiteY32" fmla="*/ 150024 h 195988"/>
              <a:gd name="connsiteX33" fmla="*/ 49841 w 196170"/>
              <a:gd name="connsiteY33" fmla="*/ 156408 h 195988"/>
              <a:gd name="connsiteX34" fmla="*/ 49841 w 196170"/>
              <a:gd name="connsiteY34" fmla="*/ 189604 h 195988"/>
              <a:gd name="connsiteX35" fmla="*/ 56231 w 196170"/>
              <a:gd name="connsiteY35" fmla="*/ 195988 h 195988"/>
              <a:gd name="connsiteX36" fmla="*/ 89459 w 196170"/>
              <a:gd name="connsiteY36" fmla="*/ 195988 h 195988"/>
              <a:gd name="connsiteX37" fmla="*/ 95849 w 196170"/>
              <a:gd name="connsiteY37" fmla="*/ 189604 h 195988"/>
              <a:gd name="connsiteX38" fmla="*/ 95849 w 196170"/>
              <a:gd name="connsiteY38" fmla="*/ 179390 h 195988"/>
              <a:gd name="connsiteX39" fmla="*/ 150164 w 196170"/>
              <a:gd name="connsiteY39" fmla="*/ 179390 h 195988"/>
              <a:gd name="connsiteX40" fmla="*/ 150164 w 196170"/>
              <a:gd name="connsiteY40" fmla="*/ 189604 h 195988"/>
              <a:gd name="connsiteX41" fmla="*/ 156553 w 196170"/>
              <a:gd name="connsiteY41" fmla="*/ 195988 h 195988"/>
              <a:gd name="connsiteX42" fmla="*/ 189781 w 196170"/>
              <a:gd name="connsiteY42" fmla="*/ 195988 h 195988"/>
              <a:gd name="connsiteX43" fmla="*/ 196171 w 196170"/>
              <a:gd name="connsiteY43" fmla="*/ 189604 h 195988"/>
              <a:gd name="connsiteX44" fmla="*/ 196171 w 196170"/>
              <a:gd name="connsiteY44" fmla="*/ 156408 h 195988"/>
              <a:gd name="connsiteX45" fmla="*/ 189781 w 196170"/>
              <a:gd name="connsiteY45" fmla="*/ 150024 h 195988"/>
              <a:gd name="connsiteX46" fmla="*/ 179557 w 196170"/>
              <a:gd name="connsiteY46" fmla="*/ 150024 h 195988"/>
              <a:gd name="connsiteX47" fmla="*/ 179557 w 196170"/>
              <a:gd name="connsiteY47" fmla="*/ 95760 h 195988"/>
              <a:gd name="connsiteX48" fmla="*/ 189781 w 196170"/>
              <a:gd name="connsiteY48" fmla="*/ 95760 h 195988"/>
              <a:gd name="connsiteX49" fmla="*/ 196171 w 196170"/>
              <a:gd name="connsiteY49" fmla="*/ 89376 h 195988"/>
              <a:gd name="connsiteX50" fmla="*/ 196171 w 196170"/>
              <a:gd name="connsiteY50" fmla="*/ 56179 h 195988"/>
              <a:gd name="connsiteX51" fmla="*/ 189781 w 196170"/>
              <a:gd name="connsiteY51" fmla="*/ 49795 h 195988"/>
              <a:gd name="connsiteX52" fmla="*/ 132910 w 196170"/>
              <a:gd name="connsiteY52" fmla="*/ 112358 h 195988"/>
              <a:gd name="connsiteX53" fmla="*/ 132910 w 196170"/>
              <a:gd name="connsiteY53" fmla="*/ 132787 h 195988"/>
              <a:gd name="connsiteX54" fmla="*/ 112463 w 196170"/>
              <a:gd name="connsiteY54" fmla="*/ 132787 h 195988"/>
              <a:gd name="connsiteX55" fmla="*/ 112463 w 196170"/>
              <a:gd name="connsiteY55" fmla="*/ 112358 h 195988"/>
              <a:gd name="connsiteX56" fmla="*/ 132910 w 196170"/>
              <a:gd name="connsiteY56" fmla="*/ 112358 h 195988"/>
              <a:gd name="connsiteX57" fmla="*/ 112463 w 196170"/>
              <a:gd name="connsiteY57" fmla="*/ 12130 h 195988"/>
              <a:gd name="connsiteX58" fmla="*/ 132910 w 196170"/>
              <a:gd name="connsiteY58" fmla="*/ 12130 h 195988"/>
              <a:gd name="connsiteX59" fmla="*/ 132910 w 196170"/>
              <a:gd name="connsiteY59" fmla="*/ 32558 h 195988"/>
              <a:gd name="connsiteX60" fmla="*/ 112463 w 196170"/>
              <a:gd name="connsiteY60" fmla="*/ 32558 h 195988"/>
              <a:gd name="connsiteX61" fmla="*/ 112463 w 196170"/>
              <a:gd name="connsiteY61" fmla="*/ 12130 h 195988"/>
              <a:gd name="connsiteX62" fmla="*/ 11501 w 196170"/>
              <a:gd name="connsiteY62" fmla="*/ 12130 h 195988"/>
              <a:gd name="connsiteX63" fmla="*/ 31950 w 196170"/>
              <a:gd name="connsiteY63" fmla="*/ 12130 h 195988"/>
              <a:gd name="connsiteX64" fmla="*/ 31950 w 196170"/>
              <a:gd name="connsiteY64" fmla="*/ 32558 h 195988"/>
              <a:gd name="connsiteX65" fmla="*/ 11501 w 196170"/>
              <a:gd name="connsiteY65" fmla="*/ 32558 h 195988"/>
              <a:gd name="connsiteX66" fmla="*/ 11501 w 196170"/>
              <a:gd name="connsiteY66" fmla="*/ 12130 h 195988"/>
              <a:gd name="connsiteX67" fmla="*/ 32589 w 196170"/>
              <a:gd name="connsiteY67" fmla="*/ 133425 h 195988"/>
              <a:gd name="connsiteX68" fmla="*/ 12140 w 196170"/>
              <a:gd name="connsiteY68" fmla="*/ 133425 h 195988"/>
              <a:gd name="connsiteX69" fmla="*/ 12140 w 196170"/>
              <a:gd name="connsiteY69" fmla="*/ 112996 h 195988"/>
              <a:gd name="connsiteX70" fmla="*/ 32589 w 196170"/>
              <a:gd name="connsiteY70" fmla="*/ 112996 h 195988"/>
              <a:gd name="connsiteX71" fmla="*/ 32589 w 196170"/>
              <a:gd name="connsiteY71" fmla="*/ 133425 h 195988"/>
              <a:gd name="connsiteX72" fmla="*/ 38978 w 196170"/>
              <a:gd name="connsiteY72" fmla="*/ 99590 h 195988"/>
              <a:gd name="connsiteX73" fmla="*/ 28755 w 196170"/>
              <a:gd name="connsiteY73" fmla="*/ 99590 h 195988"/>
              <a:gd name="connsiteX74" fmla="*/ 28755 w 196170"/>
              <a:gd name="connsiteY74" fmla="*/ 45326 h 195988"/>
              <a:gd name="connsiteX75" fmla="*/ 38978 w 196170"/>
              <a:gd name="connsiteY75" fmla="*/ 45326 h 195988"/>
              <a:gd name="connsiteX76" fmla="*/ 45368 w 196170"/>
              <a:gd name="connsiteY76" fmla="*/ 38942 h 195988"/>
              <a:gd name="connsiteX77" fmla="*/ 45368 w 196170"/>
              <a:gd name="connsiteY77" fmla="*/ 28089 h 195988"/>
              <a:gd name="connsiteX78" fmla="*/ 99683 w 196170"/>
              <a:gd name="connsiteY78" fmla="*/ 28089 h 195988"/>
              <a:gd name="connsiteX79" fmla="*/ 99683 w 196170"/>
              <a:gd name="connsiteY79" fmla="*/ 38304 h 195988"/>
              <a:gd name="connsiteX80" fmla="*/ 106073 w 196170"/>
              <a:gd name="connsiteY80" fmla="*/ 44688 h 195988"/>
              <a:gd name="connsiteX81" fmla="*/ 116297 w 196170"/>
              <a:gd name="connsiteY81" fmla="*/ 44688 h 195988"/>
              <a:gd name="connsiteX82" fmla="*/ 116297 w 196170"/>
              <a:gd name="connsiteY82" fmla="*/ 98952 h 195988"/>
              <a:gd name="connsiteX83" fmla="*/ 106073 w 196170"/>
              <a:gd name="connsiteY83" fmla="*/ 98952 h 195988"/>
              <a:gd name="connsiteX84" fmla="*/ 99683 w 196170"/>
              <a:gd name="connsiteY84" fmla="*/ 105336 h 195988"/>
              <a:gd name="connsiteX85" fmla="*/ 99683 w 196170"/>
              <a:gd name="connsiteY85" fmla="*/ 116188 h 195988"/>
              <a:gd name="connsiteX86" fmla="*/ 97766 w 196170"/>
              <a:gd name="connsiteY86" fmla="*/ 115550 h 195988"/>
              <a:gd name="connsiteX87" fmla="*/ 45368 w 196170"/>
              <a:gd name="connsiteY87" fmla="*/ 115550 h 195988"/>
              <a:gd name="connsiteX88" fmla="*/ 45368 w 196170"/>
              <a:gd name="connsiteY88" fmla="*/ 105336 h 195988"/>
              <a:gd name="connsiteX89" fmla="*/ 38978 w 196170"/>
              <a:gd name="connsiteY89" fmla="*/ 99590 h 195988"/>
              <a:gd name="connsiteX90" fmla="*/ 38978 w 196170"/>
              <a:gd name="connsiteY90" fmla="*/ 99590 h 195988"/>
              <a:gd name="connsiteX91" fmla="*/ 83069 w 196170"/>
              <a:gd name="connsiteY91" fmla="*/ 183859 h 195988"/>
              <a:gd name="connsiteX92" fmla="*/ 62621 w 196170"/>
              <a:gd name="connsiteY92" fmla="*/ 183859 h 195988"/>
              <a:gd name="connsiteX93" fmla="*/ 62621 w 196170"/>
              <a:gd name="connsiteY93" fmla="*/ 163430 h 195988"/>
              <a:gd name="connsiteX94" fmla="*/ 83069 w 196170"/>
              <a:gd name="connsiteY94" fmla="*/ 163430 h 195988"/>
              <a:gd name="connsiteX95" fmla="*/ 83069 w 196170"/>
              <a:gd name="connsiteY95" fmla="*/ 183859 h 195988"/>
              <a:gd name="connsiteX96" fmla="*/ 183391 w 196170"/>
              <a:gd name="connsiteY96" fmla="*/ 183859 h 195988"/>
              <a:gd name="connsiteX97" fmla="*/ 162943 w 196170"/>
              <a:gd name="connsiteY97" fmla="*/ 183859 h 195988"/>
              <a:gd name="connsiteX98" fmla="*/ 162943 w 196170"/>
              <a:gd name="connsiteY98" fmla="*/ 163430 h 195988"/>
              <a:gd name="connsiteX99" fmla="*/ 183391 w 196170"/>
              <a:gd name="connsiteY99" fmla="*/ 163430 h 195988"/>
              <a:gd name="connsiteX100" fmla="*/ 183391 w 196170"/>
              <a:gd name="connsiteY100" fmla="*/ 183859 h 195988"/>
              <a:gd name="connsiteX101" fmla="*/ 166777 w 196170"/>
              <a:gd name="connsiteY101" fmla="*/ 150024 h 195988"/>
              <a:gd name="connsiteX102" fmla="*/ 156553 w 196170"/>
              <a:gd name="connsiteY102" fmla="*/ 150024 h 195988"/>
              <a:gd name="connsiteX103" fmla="*/ 150164 w 196170"/>
              <a:gd name="connsiteY103" fmla="*/ 156408 h 195988"/>
              <a:gd name="connsiteX104" fmla="*/ 150164 w 196170"/>
              <a:gd name="connsiteY104" fmla="*/ 166622 h 195988"/>
              <a:gd name="connsiteX105" fmla="*/ 95849 w 196170"/>
              <a:gd name="connsiteY105" fmla="*/ 166622 h 195988"/>
              <a:gd name="connsiteX106" fmla="*/ 95849 w 196170"/>
              <a:gd name="connsiteY106" fmla="*/ 156408 h 195988"/>
              <a:gd name="connsiteX107" fmla="*/ 89459 w 196170"/>
              <a:gd name="connsiteY107" fmla="*/ 150024 h 195988"/>
              <a:gd name="connsiteX108" fmla="*/ 78596 w 196170"/>
              <a:gd name="connsiteY108" fmla="*/ 150024 h 195988"/>
              <a:gd name="connsiteX109" fmla="*/ 79235 w 196170"/>
              <a:gd name="connsiteY109" fmla="*/ 148108 h 195988"/>
              <a:gd name="connsiteX110" fmla="*/ 79235 w 196170"/>
              <a:gd name="connsiteY110" fmla="*/ 129595 h 195988"/>
              <a:gd name="connsiteX111" fmla="*/ 97766 w 196170"/>
              <a:gd name="connsiteY111" fmla="*/ 129595 h 195988"/>
              <a:gd name="connsiteX112" fmla="*/ 99683 w 196170"/>
              <a:gd name="connsiteY112" fmla="*/ 128956 h 195988"/>
              <a:gd name="connsiteX113" fmla="*/ 99683 w 196170"/>
              <a:gd name="connsiteY113" fmla="*/ 139809 h 195988"/>
              <a:gd name="connsiteX114" fmla="*/ 106073 w 196170"/>
              <a:gd name="connsiteY114" fmla="*/ 146193 h 195988"/>
              <a:gd name="connsiteX115" fmla="*/ 139300 w 196170"/>
              <a:gd name="connsiteY115" fmla="*/ 146193 h 195988"/>
              <a:gd name="connsiteX116" fmla="*/ 145690 w 196170"/>
              <a:gd name="connsiteY116" fmla="*/ 139809 h 195988"/>
              <a:gd name="connsiteX117" fmla="*/ 145690 w 196170"/>
              <a:gd name="connsiteY117" fmla="*/ 106612 h 195988"/>
              <a:gd name="connsiteX118" fmla="*/ 139300 w 196170"/>
              <a:gd name="connsiteY118" fmla="*/ 100228 h 195988"/>
              <a:gd name="connsiteX119" fmla="*/ 129076 w 196170"/>
              <a:gd name="connsiteY119" fmla="*/ 100228 h 195988"/>
              <a:gd name="connsiteX120" fmla="*/ 129076 w 196170"/>
              <a:gd name="connsiteY120" fmla="*/ 79800 h 195988"/>
              <a:gd name="connsiteX121" fmla="*/ 149524 w 196170"/>
              <a:gd name="connsiteY121" fmla="*/ 79800 h 195988"/>
              <a:gd name="connsiteX122" fmla="*/ 149524 w 196170"/>
              <a:gd name="connsiteY122" fmla="*/ 90014 h 195988"/>
              <a:gd name="connsiteX123" fmla="*/ 155914 w 196170"/>
              <a:gd name="connsiteY123" fmla="*/ 96398 h 195988"/>
              <a:gd name="connsiteX124" fmla="*/ 166138 w 196170"/>
              <a:gd name="connsiteY124" fmla="*/ 96398 h 195988"/>
              <a:gd name="connsiteX125" fmla="*/ 166138 w 196170"/>
              <a:gd name="connsiteY125" fmla="*/ 150024 h 195988"/>
              <a:gd name="connsiteX126" fmla="*/ 183391 w 196170"/>
              <a:gd name="connsiteY126" fmla="*/ 82992 h 195988"/>
              <a:gd name="connsiteX127" fmla="*/ 162943 w 196170"/>
              <a:gd name="connsiteY127" fmla="*/ 82992 h 195988"/>
              <a:gd name="connsiteX128" fmla="*/ 162943 w 196170"/>
              <a:gd name="connsiteY128" fmla="*/ 62563 h 195988"/>
              <a:gd name="connsiteX129" fmla="*/ 183391 w 196170"/>
              <a:gd name="connsiteY129" fmla="*/ 62563 h 195988"/>
              <a:gd name="connsiteX130" fmla="*/ 183391 w 196170"/>
              <a:gd name="connsiteY130" fmla="*/ 82992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96170" h="195988">
                <a:moveTo>
                  <a:pt x="189781" y="49795"/>
                </a:moveTo>
                <a:lnTo>
                  <a:pt x="156553" y="49795"/>
                </a:lnTo>
                <a:cubicBezTo>
                  <a:pt x="152719" y="49795"/>
                  <a:pt x="150164" y="52349"/>
                  <a:pt x="150164" y="56179"/>
                </a:cubicBezTo>
                <a:lnTo>
                  <a:pt x="150164" y="66393"/>
                </a:lnTo>
                <a:lnTo>
                  <a:pt x="129715" y="66393"/>
                </a:lnTo>
                <a:lnTo>
                  <a:pt x="129715" y="45965"/>
                </a:lnTo>
                <a:lnTo>
                  <a:pt x="139939" y="45965"/>
                </a:lnTo>
                <a:cubicBezTo>
                  <a:pt x="143774" y="45965"/>
                  <a:pt x="146329" y="43411"/>
                  <a:pt x="146329" y="39581"/>
                </a:cubicBezTo>
                <a:lnTo>
                  <a:pt x="146329" y="6384"/>
                </a:lnTo>
                <a:cubicBezTo>
                  <a:pt x="146329" y="2554"/>
                  <a:pt x="143774" y="0"/>
                  <a:pt x="139939" y="0"/>
                </a:cubicBezTo>
                <a:lnTo>
                  <a:pt x="106712" y="0"/>
                </a:lnTo>
                <a:cubicBezTo>
                  <a:pt x="102878" y="0"/>
                  <a:pt x="100322" y="2554"/>
                  <a:pt x="100322" y="6384"/>
                </a:cubicBezTo>
                <a:lnTo>
                  <a:pt x="100322" y="16598"/>
                </a:lnTo>
                <a:lnTo>
                  <a:pt x="46007" y="16598"/>
                </a:lnTo>
                <a:lnTo>
                  <a:pt x="46007" y="6384"/>
                </a:lnTo>
                <a:cubicBezTo>
                  <a:pt x="46007" y="2554"/>
                  <a:pt x="43451" y="0"/>
                  <a:pt x="39617" y="0"/>
                </a:cubicBezTo>
                <a:lnTo>
                  <a:pt x="6390" y="0"/>
                </a:lnTo>
                <a:cubicBezTo>
                  <a:pt x="2555" y="0"/>
                  <a:pt x="0" y="2554"/>
                  <a:pt x="0" y="6384"/>
                </a:cubicBezTo>
                <a:lnTo>
                  <a:pt x="0" y="39581"/>
                </a:lnTo>
                <a:cubicBezTo>
                  <a:pt x="0" y="43411"/>
                  <a:pt x="2555" y="45965"/>
                  <a:pt x="6390" y="45965"/>
                </a:cubicBezTo>
                <a:lnTo>
                  <a:pt x="16614" y="45965"/>
                </a:lnTo>
                <a:lnTo>
                  <a:pt x="16614" y="100228"/>
                </a:lnTo>
                <a:lnTo>
                  <a:pt x="6390" y="100228"/>
                </a:lnTo>
                <a:cubicBezTo>
                  <a:pt x="2555" y="100228"/>
                  <a:pt x="0" y="102782"/>
                  <a:pt x="0" y="106612"/>
                </a:cubicBezTo>
                <a:lnTo>
                  <a:pt x="0" y="139809"/>
                </a:lnTo>
                <a:cubicBezTo>
                  <a:pt x="0" y="143640"/>
                  <a:pt x="2555" y="146193"/>
                  <a:pt x="6390" y="146193"/>
                </a:cubicBezTo>
                <a:lnTo>
                  <a:pt x="39617" y="146193"/>
                </a:lnTo>
                <a:cubicBezTo>
                  <a:pt x="43451" y="146193"/>
                  <a:pt x="46007" y="143640"/>
                  <a:pt x="46007" y="139809"/>
                </a:cubicBezTo>
                <a:lnTo>
                  <a:pt x="46007" y="129595"/>
                </a:lnTo>
                <a:lnTo>
                  <a:pt x="66455" y="129595"/>
                </a:lnTo>
                <a:lnTo>
                  <a:pt x="66455" y="148108"/>
                </a:lnTo>
                <a:cubicBezTo>
                  <a:pt x="66455" y="148747"/>
                  <a:pt x="66455" y="149385"/>
                  <a:pt x="67094" y="150024"/>
                </a:cubicBezTo>
                <a:lnTo>
                  <a:pt x="56231" y="150024"/>
                </a:lnTo>
                <a:cubicBezTo>
                  <a:pt x="52397" y="150024"/>
                  <a:pt x="49841" y="152577"/>
                  <a:pt x="49841" y="156408"/>
                </a:cubicBezTo>
                <a:lnTo>
                  <a:pt x="49841" y="189604"/>
                </a:lnTo>
                <a:cubicBezTo>
                  <a:pt x="49841" y="193435"/>
                  <a:pt x="52397" y="195988"/>
                  <a:pt x="56231" y="195988"/>
                </a:cubicBezTo>
                <a:lnTo>
                  <a:pt x="89459" y="195988"/>
                </a:lnTo>
                <a:cubicBezTo>
                  <a:pt x="93293" y="195988"/>
                  <a:pt x="95849" y="193435"/>
                  <a:pt x="95849" y="189604"/>
                </a:cubicBezTo>
                <a:lnTo>
                  <a:pt x="95849" y="179390"/>
                </a:lnTo>
                <a:lnTo>
                  <a:pt x="150164" y="179390"/>
                </a:lnTo>
                <a:lnTo>
                  <a:pt x="150164" y="189604"/>
                </a:lnTo>
                <a:cubicBezTo>
                  <a:pt x="150164" y="193435"/>
                  <a:pt x="152719" y="195988"/>
                  <a:pt x="156553" y="195988"/>
                </a:cubicBezTo>
                <a:lnTo>
                  <a:pt x="189781" y="195988"/>
                </a:lnTo>
                <a:cubicBezTo>
                  <a:pt x="193615" y="195988"/>
                  <a:pt x="196171" y="193435"/>
                  <a:pt x="196171" y="189604"/>
                </a:cubicBezTo>
                <a:lnTo>
                  <a:pt x="196171" y="156408"/>
                </a:lnTo>
                <a:cubicBezTo>
                  <a:pt x="196171" y="152577"/>
                  <a:pt x="193615" y="150024"/>
                  <a:pt x="189781" y="150024"/>
                </a:cubicBezTo>
                <a:lnTo>
                  <a:pt x="179557" y="150024"/>
                </a:lnTo>
                <a:lnTo>
                  <a:pt x="179557" y="95760"/>
                </a:lnTo>
                <a:lnTo>
                  <a:pt x="189781" y="95760"/>
                </a:lnTo>
                <a:cubicBezTo>
                  <a:pt x="193615" y="95760"/>
                  <a:pt x="196171" y="93206"/>
                  <a:pt x="196171" y="89376"/>
                </a:cubicBezTo>
                <a:lnTo>
                  <a:pt x="196171" y="56179"/>
                </a:lnTo>
                <a:cubicBezTo>
                  <a:pt x="196171" y="52349"/>
                  <a:pt x="192976" y="49795"/>
                  <a:pt x="189781" y="49795"/>
                </a:cubicBezTo>
                <a:close/>
                <a:moveTo>
                  <a:pt x="132910" y="112358"/>
                </a:moveTo>
                <a:lnTo>
                  <a:pt x="132910" y="132787"/>
                </a:lnTo>
                <a:lnTo>
                  <a:pt x="112463" y="132787"/>
                </a:lnTo>
                <a:lnTo>
                  <a:pt x="112463" y="112358"/>
                </a:lnTo>
                <a:lnTo>
                  <a:pt x="132910" y="112358"/>
                </a:lnTo>
                <a:close/>
                <a:moveTo>
                  <a:pt x="112463" y="12130"/>
                </a:moveTo>
                <a:lnTo>
                  <a:pt x="132910" y="12130"/>
                </a:lnTo>
                <a:lnTo>
                  <a:pt x="132910" y="32558"/>
                </a:lnTo>
                <a:lnTo>
                  <a:pt x="112463" y="32558"/>
                </a:lnTo>
                <a:lnTo>
                  <a:pt x="112463" y="12130"/>
                </a:lnTo>
                <a:close/>
                <a:moveTo>
                  <a:pt x="11501" y="12130"/>
                </a:moveTo>
                <a:lnTo>
                  <a:pt x="31950" y="12130"/>
                </a:lnTo>
                <a:lnTo>
                  <a:pt x="31950" y="32558"/>
                </a:lnTo>
                <a:lnTo>
                  <a:pt x="11501" y="32558"/>
                </a:lnTo>
                <a:lnTo>
                  <a:pt x="11501" y="12130"/>
                </a:lnTo>
                <a:close/>
                <a:moveTo>
                  <a:pt x="32589" y="133425"/>
                </a:moveTo>
                <a:lnTo>
                  <a:pt x="12140" y="133425"/>
                </a:lnTo>
                <a:lnTo>
                  <a:pt x="12140" y="112996"/>
                </a:lnTo>
                <a:lnTo>
                  <a:pt x="32589" y="112996"/>
                </a:lnTo>
                <a:lnTo>
                  <a:pt x="32589" y="133425"/>
                </a:lnTo>
                <a:close/>
                <a:moveTo>
                  <a:pt x="38978" y="99590"/>
                </a:moveTo>
                <a:lnTo>
                  <a:pt x="28755" y="99590"/>
                </a:lnTo>
                <a:lnTo>
                  <a:pt x="28755" y="45326"/>
                </a:lnTo>
                <a:lnTo>
                  <a:pt x="38978" y="45326"/>
                </a:lnTo>
                <a:cubicBezTo>
                  <a:pt x="42812" y="45326"/>
                  <a:pt x="45368" y="42773"/>
                  <a:pt x="45368" y="38942"/>
                </a:cubicBezTo>
                <a:lnTo>
                  <a:pt x="45368" y="28089"/>
                </a:lnTo>
                <a:lnTo>
                  <a:pt x="99683" y="28089"/>
                </a:lnTo>
                <a:lnTo>
                  <a:pt x="99683" y="38304"/>
                </a:lnTo>
                <a:cubicBezTo>
                  <a:pt x="99683" y="42134"/>
                  <a:pt x="102239" y="44688"/>
                  <a:pt x="106073" y="44688"/>
                </a:cubicBezTo>
                <a:lnTo>
                  <a:pt x="116297" y="44688"/>
                </a:lnTo>
                <a:lnTo>
                  <a:pt x="116297" y="98952"/>
                </a:lnTo>
                <a:lnTo>
                  <a:pt x="106073" y="98952"/>
                </a:lnTo>
                <a:cubicBezTo>
                  <a:pt x="102239" y="98952"/>
                  <a:pt x="99683" y="101505"/>
                  <a:pt x="99683" y="105336"/>
                </a:cubicBezTo>
                <a:lnTo>
                  <a:pt x="99683" y="116188"/>
                </a:lnTo>
                <a:cubicBezTo>
                  <a:pt x="99044" y="116188"/>
                  <a:pt x="98404" y="115550"/>
                  <a:pt x="97766" y="115550"/>
                </a:cubicBezTo>
                <a:lnTo>
                  <a:pt x="45368" y="115550"/>
                </a:lnTo>
                <a:lnTo>
                  <a:pt x="45368" y="105336"/>
                </a:lnTo>
                <a:cubicBezTo>
                  <a:pt x="45368" y="102782"/>
                  <a:pt x="42173" y="99590"/>
                  <a:pt x="38978" y="99590"/>
                </a:cubicBezTo>
                <a:lnTo>
                  <a:pt x="38978" y="99590"/>
                </a:lnTo>
                <a:close/>
                <a:moveTo>
                  <a:pt x="83069" y="183859"/>
                </a:moveTo>
                <a:lnTo>
                  <a:pt x="62621" y="183859"/>
                </a:lnTo>
                <a:lnTo>
                  <a:pt x="62621" y="163430"/>
                </a:lnTo>
                <a:lnTo>
                  <a:pt x="83069" y="163430"/>
                </a:lnTo>
                <a:lnTo>
                  <a:pt x="83069" y="183859"/>
                </a:lnTo>
                <a:close/>
                <a:moveTo>
                  <a:pt x="183391" y="183859"/>
                </a:moveTo>
                <a:lnTo>
                  <a:pt x="162943" y="183859"/>
                </a:lnTo>
                <a:lnTo>
                  <a:pt x="162943" y="163430"/>
                </a:lnTo>
                <a:lnTo>
                  <a:pt x="183391" y="163430"/>
                </a:lnTo>
                <a:lnTo>
                  <a:pt x="183391" y="183859"/>
                </a:lnTo>
                <a:close/>
                <a:moveTo>
                  <a:pt x="166777" y="150024"/>
                </a:moveTo>
                <a:lnTo>
                  <a:pt x="156553" y="150024"/>
                </a:lnTo>
                <a:cubicBezTo>
                  <a:pt x="152719" y="150024"/>
                  <a:pt x="150164" y="152577"/>
                  <a:pt x="150164" y="156408"/>
                </a:cubicBezTo>
                <a:lnTo>
                  <a:pt x="150164" y="166622"/>
                </a:lnTo>
                <a:lnTo>
                  <a:pt x="95849" y="166622"/>
                </a:lnTo>
                <a:lnTo>
                  <a:pt x="95849" y="156408"/>
                </a:lnTo>
                <a:cubicBezTo>
                  <a:pt x="95849" y="152577"/>
                  <a:pt x="93293" y="150024"/>
                  <a:pt x="89459" y="150024"/>
                </a:cubicBezTo>
                <a:lnTo>
                  <a:pt x="78596" y="150024"/>
                </a:lnTo>
                <a:cubicBezTo>
                  <a:pt x="78596" y="149385"/>
                  <a:pt x="79235" y="148747"/>
                  <a:pt x="79235" y="148108"/>
                </a:cubicBezTo>
                <a:lnTo>
                  <a:pt x="79235" y="129595"/>
                </a:lnTo>
                <a:lnTo>
                  <a:pt x="97766" y="129595"/>
                </a:lnTo>
                <a:cubicBezTo>
                  <a:pt x="98404" y="129595"/>
                  <a:pt x="99044" y="129595"/>
                  <a:pt x="99683" y="128956"/>
                </a:cubicBezTo>
                <a:lnTo>
                  <a:pt x="99683" y="139809"/>
                </a:lnTo>
                <a:cubicBezTo>
                  <a:pt x="99683" y="143640"/>
                  <a:pt x="102239" y="146193"/>
                  <a:pt x="106073" y="146193"/>
                </a:cubicBezTo>
                <a:lnTo>
                  <a:pt x="139300" y="146193"/>
                </a:lnTo>
                <a:cubicBezTo>
                  <a:pt x="143134" y="146193"/>
                  <a:pt x="145690" y="143640"/>
                  <a:pt x="145690" y="139809"/>
                </a:cubicBezTo>
                <a:lnTo>
                  <a:pt x="145690" y="106612"/>
                </a:lnTo>
                <a:cubicBezTo>
                  <a:pt x="145690" y="102782"/>
                  <a:pt x="143134" y="100228"/>
                  <a:pt x="139300" y="100228"/>
                </a:cubicBezTo>
                <a:lnTo>
                  <a:pt x="129076" y="100228"/>
                </a:lnTo>
                <a:lnTo>
                  <a:pt x="129076" y="79800"/>
                </a:lnTo>
                <a:lnTo>
                  <a:pt x="149524" y="79800"/>
                </a:lnTo>
                <a:lnTo>
                  <a:pt x="149524" y="90014"/>
                </a:lnTo>
                <a:cubicBezTo>
                  <a:pt x="149524" y="93844"/>
                  <a:pt x="152080" y="96398"/>
                  <a:pt x="155914" y="96398"/>
                </a:cubicBezTo>
                <a:lnTo>
                  <a:pt x="166138" y="96398"/>
                </a:lnTo>
                <a:lnTo>
                  <a:pt x="166138" y="150024"/>
                </a:lnTo>
                <a:close/>
                <a:moveTo>
                  <a:pt x="183391" y="82992"/>
                </a:moveTo>
                <a:lnTo>
                  <a:pt x="162943" y="82992"/>
                </a:lnTo>
                <a:lnTo>
                  <a:pt x="162943" y="62563"/>
                </a:lnTo>
                <a:lnTo>
                  <a:pt x="183391" y="62563"/>
                </a:lnTo>
                <a:lnTo>
                  <a:pt x="183391" y="82992"/>
                </a:lnTo>
                <a:close/>
              </a:path>
            </a:pathLst>
          </a:custGeom>
          <a:solidFill>
            <a:schemeClr val="bg1"/>
          </a:solidFill>
          <a:ln w="3373" cap="flat">
            <a:noFill/>
            <a:prstDash val="solid"/>
            <a:miter/>
          </a:ln>
        </p:spPr>
        <p:txBody>
          <a:bodyPr rtlCol="0" anchor="ctr"/>
          <a:lstStyle/>
          <a:p>
            <a:endParaRPr lang="en-US"/>
          </a:p>
        </p:txBody>
      </p:sp>
      <p:grpSp>
        <p:nvGrpSpPr>
          <p:cNvPr id="36" name="Graphic 4">
            <a:extLst>
              <a:ext uri="{FF2B5EF4-FFF2-40B4-BE49-F238E27FC236}">
                <a16:creationId xmlns:a16="http://schemas.microsoft.com/office/drawing/2014/main" id="{B168ACD4-8083-999D-6E33-0E590A9C0318}"/>
              </a:ext>
            </a:extLst>
          </p:cNvPr>
          <p:cNvGrpSpPr>
            <a:grpSpLocks noChangeAspect="1"/>
          </p:cNvGrpSpPr>
          <p:nvPr/>
        </p:nvGrpSpPr>
        <p:grpSpPr>
          <a:xfrm>
            <a:off x="445542" y="3662450"/>
            <a:ext cx="288000" cy="191290"/>
            <a:chOff x="2626264" y="1990049"/>
            <a:chExt cx="230676" cy="153216"/>
          </a:xfrm>
          <a:solidFill>
            <a:schemeClr val="accent1">
              <a:lumMod val="40000"/>
              <a:lumOff val="60000"/>
            </a:schemeClr>
          </a:solidFill>
        </p:grpSpPr>
        <p:sp>
          <p:nvSpPr>
            <p:cNvPr id="37" name="Graphic 4">
              <a:extLst>
                <a:ext uri="{FF2B5EF4-FFF2-40B4-BE49-F238E27FC236}">
                  <a16:creationId xmlns:a16="http://schemas.microsoft.com/office/drawing/2014/main" id="{9698A0D4-5C97-E5F7-0643-13FB786039DA}"/>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198EF0EA-1BD7-250F-DF1C-FB4629F63A62}"/>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39" name="Graphic 4">
              <a:extLst>
                <a:ext uri="{FF2B5EF4-FFF2-40B4-BE49-F238E27FC236}">
                  <a16:creationId xmlns:a16="http://schemas.microsoft.com/office/drawing/2014/main" id="{7CE33814-EF9B-261B-68E5-2F873F416429}"/>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26D0B785-3E8C-AE77-59F9-961CB676F8C0}"/>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99F5E296-496F-AEAE-CE88-BBBF332223AF}"/>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86981AF4-B65F-B950-3147-30B3378FF551}"/>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68" name="Rectangle: Rounded Corners 67">
            <a:extLst>
              <a:ext uri="{FF2B5EF4-FFF2-40B4-BE49-F238E27FC236}">
                <a16:creationId xmlns:a16="http://schemas.microsoft.com/office/drawing/2014/main" id="{A4DE1990-98BB-3931-DB0F-9CB736D38381}"/>
              </a:ext>
            </a:extLst>
          </p:cNvPr>
          <p:cNvSpPr/>
          <p:nvPr/>
        </p:nvSpPr>
        <p:spPr>
          <a:xfrm>
            <a:off x="374072" y="3363246"/>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85" name="Graphic 4">
            <a:extLst>
              <a:ext uri="{FF2B5EF4-FFF2-40B4-BE49-F238E27FC236}">
                <a16:creationId xmlns:a16="http://schemas.microsoft.com/office/drawing/2014/main" id="{3C0CFB98-B171-9AE9-44E1-00CC97A84547}"/>
              </a:ext>
            </a:extLst>
          </p:cNvPr>
          <p:cNvGrpSpPr>
            <a:grpSpLocks noChangeAspect="1"/>
          </p:cNvGrpSpPr>
          <p:nvPr/>
        </p:nvGrpSpPr>
        <p:grpSpPr>
          <a:xfrm>
            <a:off x="454680" y="3586406"/>
            <a:ext cx="325205" cy="215999"/>
            <a:chOff x="2626264" y="1990049"/>
            <a:chExt cx="230676" cy="153216"/>
          </a:xfrm>
          <a:solidFill>
            <a:schemeClr val="bg1"/>
          </a:solidFill>
        </p:grpSpPr>
        <p:sp>
          <p:nvSpPr>
            <p:cNvPr id="86" name="Graphic 4">
              <a:extLst>
                <a:ext uri="{FF2B5EF4-FFF2-40B4-BE49-F238E27FC236}">
                  <a16:creationId xmlns:a16="http://schemas.microsoft.com/office/drawing/2014/main" id="{018F8B9F-4ADF-2F7D-EB88-E3D93D325DF7}"/>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C367DB95-843A-ADF1-EC41-6A88BE376C05}"/>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B9B0BC97-5E60-E251-73EA-4E375624F7E1}"/>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C2130566-E1A0-1572-7CD1-E68889DDB36D}"/>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3DCB35FE-76CB-DF1B-B3D4-23E10FA0DBEE}"/>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44C83E49-CB85-2C3B-AC03-120C38AFDFF6}"/>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pic>
        <p:nvPicPr>
          <p:cNvPr id="92" name="Graphic 91" descr="Upward trend with solid fill">
            <a:extLst>
              <a:ext uri="{FF2B5EF4-FFF2-40B4-BE49-F238E27FC236}">
                <a16:creationId xmlns:a16="http://schemas.microsoft.com/office/drawing/2014/main" id="{389AAA63-3E4C-37B3-D697-B5B9061923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8971" y="774249"/>
            <a:ext cx="396000" cy="396000"/>
          </a:xfrm>
          <a:prstGeom prst="rect">
            <a:avLst/>
          </a:prstGeom>
        </p:spPr>
      </p:pic>
      <p:grpSp>
        <p:nvGrpSpPr>
          <p:cNvPr id="93" name="Graphic 4">
            <a:extLst>
              <a:ext uri="{FF2B5EF4-FFF2-40B4-BE49-F238E27FC236}">
                <a16:creationId xmlns:a16="http://schemas.microsoft.com/office/drawing/2014/main" id="{F2EC349B-B9DC-36ED-E049-8F7307B55C59}"/>
              </a:ext>
            </a:extLst>
          </p:cNvPr>
          <p:cNvGrpSpPr>
            <a:grpSpLocks noChangeAspect="1"/>
          </p:cNvGrpSpPr>
          <p:nvPr/>
        </p:nvGrpSpPr>
        <p:grpSpPr>
          <a:xfrm>
            <a:off x="421294" y="952548"/>
            <a:ext cx="287999" cy="276915"/>
            <a:chOff x="1573681" y="2918430"/>
            <a:chExt cx="246172" cy="236696"/>
          </a:xfrm>
          <a:solidFill>
            <a:schemeClr val="accent1">
              <a:lumMod val="40000"/>
              <a:lumOff val="60000"/>
            </a:schemeClr>
          </a:solidFill>
        </p:grpSpPr>
        <p:sp>
          <p:nvSpPr>
            <p:cNvPr id="94" name="Graphic 4">
              <a:extLst>
                <a:ext uri="{FF2B5EF4-FFF2-40B4-BE49-F238E27FC236}">
                  <a16:creationId xmlns:a16="http://schemas.microsoft.com/office/drawing/2014/main" id="{A51E7939-165B-F656-3BA5-795D04036A28}"/>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95" name="Graphic 4">
              <a:extLst>
                <a:ext uri="{FF2B5EF4-FFF2-40B4-BE49-F238E27FC236}">
                  <a16:creationId xmlns:a16="http://schemas.microsoft.com/office/drawing/2014/main" id="{9B5C91C0-8DC1-EF4E-D887-D0C77B925795}"/>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96" name="Graphic 4">
              <a:extLst>
                <a:ext uri="{FF2B5EF4-FFF2-40B4-BE49-F238E27FC236}">
                  <a16:creationId xmlns:a16="http://schemas.microsoft.com/office/drawing/2014/main" id="{B5EE4134-81BD-6F8C-06B8-EDC0D93B0346}"/>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97" name="Graphic 4">
              <a:extLst>
                <a:ext uri="{FF2B5EF4-FFF2-40B4-BE49-F238E27FC236}">
                  <a16:creationId xmlns:a16="http://schemas.microsoft.com/office/drawing/2014/main" id="{E2174D55-50AD-BD1C-4543-DBCE750988B9}"/>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98" name="Graphic 4">
              <a:extLst>
                <a:ext uri="{FF2B5EF4-FFF2-40B4-BE49-F238E27FC236}">
                  <a16:creationId xmlns:a16="http://schemas.microsoft.com/office/drawing/2014/main" id="{66D729D6-3F46-0585-0BBF-EEC6B11BBCC9}"/>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99" name="Graphic 4">
              <a:extLst>
                <a:ext uri="{FF2B5EF4-FFF2-40B4-BE49-F238E27FC236}">
                  <a16:creationId xmlns:a16="http://schemas.microsoft.com/office/drawing/2014/main" id="{696B8A3C-569A-9903-3F42-DC2C153A203E}"/>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pic>
        <p:nvPicPr>
          <p:cNvPr id="100" name="Graphic 99" descr="Upward trend with solid fill">
            <a:extLst>
              <a:ext uri="{FF2B5EF4-FFF2-40B4-BE49-F238E27FC236}">
                <a16:creationId xmlns:a16="http://schemas.microsoft.com/office/drawing/2014/main" id="{9787B531-1854-0D79-3548-8A45CCFC3B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9163" y="1831574"/>
            <a:ext cx="324000" cy="324000"/>
          </a:xfrm>
          <a:prstGeom prst="rect">
            <a:avLst/>
          </a:prstGeom>
        </p:spPr>
      </p:pic>
      <p:sp>
        <p:nvSpPr>
          <p:cNvPr id="101" name="Graphic 4">
            <a:extLst>
              <a:ext uri="{FF2B5EF4-FFF2-40B4-BE49-F238E27FC236}">
                <a16:creationId xmlns:a16="http://schemas.microsoft.com/office/drawing/2014/main" id="{5D05E2AA-4C58-9A00-2309-720FBE339B20}"/>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grpSp>
        <p:nvGrpSpPr>
          <p:cNvPr id="102" name="Graphic 1100">
            <a:extLst>
              <a:ext uri="{FF2B5EF4-FFF2-40B4-BE49-F238E27FC236}">
                <a16:creationId xmlns:a16="http://schemas.microsoft.com/office/drawing/2014/main" id="{0E786FFA-E3B8-992E-93C1-4129C219DB74}"/>
              </a:ext>
            </a:extLst>
          </p:cNvPr>
          <p:cNvGrpSpPr>
            <a:grpSpLocks noChangeAspect="1"/>
          </p:cNvGrpSpPr>
          <p:nvPr/>
        </p:nvGrpSpPr>
        <p:grpSpPr>
          <a:xfrm>
            <a:off x="447688" y="5314360"/>
            <a:ext cx="263402" cy="360000"/>
            <a:chOff x="5810369" y="1478218"/>
            <a:chExt cx="159748" cy="218332"/>
          </a:xfrm>
          <a:solidFill>
            <a:schemeClr val="bg1"/>
          </a:solidFill>
        </p:grpSpPr>
        <p:sp>
          <p:nvSpPr>
            <p:cNvPr id="103" name="Graphic 1100">
              <a:extLst>
                <a:ext uri="{FF2B5EF4-FFF2-40B4-BE49-F238E27FC236}">
                  <a16:creationId xmlns:a16="http://schemas.microsoft.com/office/drawing/2014/main" id="{09076793-C10B-158D-D001-6C443DB86697}"/>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04" name="Graphic 1100">
              <a:extLst>
                <a:ext uri="{FF2B5EF4-FFF2-40B4-BE49-F238E27FC236}">
                  <a16:creationId xmlns:a16="http://schemas.microsoft.com/office/drawing/2014/main" id="{A8F5DF23-E294-ACAE-4FE8-D262E144853F}"/>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05" name="Graphic 1100">
              <a:extLst>
                <a:ext uri="{FF2B5EF4-FFF2-40B4-BE49-F238E27FC236}">
                  <a16:creationId xmlns:a16="http://schemas.microsoft.com/office/drawing/2014/main" id="{A086D357-BBF7-FD13-A165-DCAEF68A1EA0}"/>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06" name="Graphic 1100">
              <a:extLst>
                <a:ext uri="{FF2B5EF4-FFF2-40B4-BE49-F238E27FC236}">
                  <a16:creationId xmlns:a16="http://schemas.microsoft.com/office/drawing/2014/main" id="{EC02DAAA-764C-6AB1-F77F-BB587AFA661C}"/>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107" name="Graphic 4">
            <a:extLst>
              <a:ext uri="{FF2B5EF4-FFF2-40B4-BE49-F238E27FC236}">
                <a16:creationId xmlns:a16="http://schemas.microsoft.com/office/drawing/2014/main" id="{4A794E0A-E85F-CCBB-3A6B-1AC36E9C7C8B}"/>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108" name="Graphic 4">
              <a:extLst>
                <a:ext uri="{FF2B5EF4-FFF2-40B4-BE49-F238E27FC236}">
                  <a16:creationId xmlns:a16="http://schemas.microsoft.com/office/drawing/2014/main" id="{51121B78-4933-B711-4A35-76ECEE402247}"/>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109" name="Graphic 4">
              <a:extLst>
                <a:ext uri="{FF2B5EF4-FFF2-40B4-BE49-F238E27FC236}">
                  <a16:creationId xmlns:a16="http://schemas.microsoft.com/office/drawing/2014/main" id="{BB5F625E-4848-59B1-7CD4-701CF27E912C}"/>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110" name="Graphic 4">
              <a:extLst>
                <a:ext uri="{FF2B5EF4-FFF2-40B4-BE49-F238E27FC236}">
                  <a16:creationId xmlns:a16="http://schemas.microsoft.com/office/drawing/2014/main" id="{361F921A-9FBB-6941-FDBD-7D25154BBC93}"/>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11" name="Graphic 4">
              <a:extLst>
                <a:ext uri="{FF2B5EF4-FFF2-40B4-BE49-F238E27FC236}">
                  <a16:creationId xmlns:a16="http://schemas.microsoft.com/office/drawing/2014/main" id="{4C89A86B-EA31-1664-7024-14F98A51BC42}"/>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12" name="Graphic 4">
              <a:extLst>
                <a:ext uri="{FF2B5EF4-FFF2-40B4-BE49-F238E27FC236}">
                  <a16:creationId xmlns:a16="http://schemas.microsoft.com/office/drawing/2014/main" id="{F7A54DB7-54B6-F341-EA44-F96B4B8EDFB1}"/>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113" name="Graphic 1100">
            <a:extLst>
              <a:ext uri="{FF2B5EF4-FFF2-40B4-BE49-F238E27FC236}">
                <a16:creationId xmlns:a16="http://schemas.microsoft.com/office/drawing/2014/main" id="{78DF23C2-58F1-25E8-27DE-0B5A92AD788C}"/>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114" name="Graphic 1100">
              <a:extLst>
                <a:ext uri="{FF2B5EF4-FFF2-40B4-BE49-F238E27FC236}">
                  <a16:creationId xmlns:a16="http://schemas.microsoft.com/office/drawing/2014/main" id="{52CA9C99-02B0-13C2-78AE-A53D2B17A737}"/>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15" name="Graphic 1100">
              <a:extLst>
                <a:ext uri="{FF2B5EF4-FFF2-40B4-BE49-F238E27FC236}">
                  <a16:creationId xmlns:a16="http://schemas.microsoft.com/office/drawing/2014/main" id="{41137517-9F20-276B-A4A8-D2DAEE09D8B8}"/>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16" name="Graphic 1100">
              <a:extLst>
                <a:ext uri="{FF2B5EF4-FFF2-40B4-BE49-F238E27FC236}">
                  <a16:creationId xmlns:a16="http://schemas.microsoft.com/office/drawing/2014/main" id="{A2B3EFA0-2272-F3F4-1F48-1142ADCA08CD}"/>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17" name="Graphic 1100">
              <a:extLst>
                <a:ext uri="{FF2B5EF4-FFF2-40B4-BE49-F238E27FC236}">
                  <a16:creationId xmlns:a16="http://schemas.microsoft.com/office/drawing/2014/main" id="{DA369E3E-B037-60F7-58A8-B908E9520AC9}"/>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sp>
        <p:nvSpPr>
          <p:cNvPr id="3" name="Rectangle: Rounded Corners 2">
            <a:extLst>
              <a:ext uri="{FF2B5EF4-FFF2-40B4-BE49-F238E27FC236}">
                <a16:creationId xmlns:a16="http://schemas.microsoft.com/office/drawing/2014/main" id="{1281DC35-C153-EF0A-6706-4EBEAE93E5CD}"/>
              </a:ext>
            </a:extLst>
          </p:cNvPr>
          <p:cNvSpPr/>
          <p:nvPr/>
        </p:nvSpPr>
        <p:spPr>
          <a:xfrm>
            <a:off x="1369995" y="5604444"/>
            <a:ext cx="9702393" cy="405357"/>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Hint</a:t>
            </a:r>
            <a:r>
              <a:rPr lang="en-US" sz="1200"/>
              <a:t>: make sure the answers to these questions are coming exclusively from the source documents and articles provided!</a:t>
            </a:r>
            <a:endParaRPr lang="en-US" sz="1400"/>
          </a:p>
        </p:txBody>
      </p:sp>
    </p:spTree>
    <p:extLst>
      <p:ext uri="{BB962C8B-B14F-4D97-AF65-F5344CB8AC3E}">
        <p14:creationId xmlns:p14="http://schemas.microsoft.com/office/powerpoint/2010/main" val="198311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841C40C-3DE7-A540-8A29-6E32BCC9BA95}"/>
              </a:ext>
            </a:extLst>
          </p:cNvPr>
          <p:cNvSpPr/>
          <p:nvPr/>
        </p:nvSpPr>
        <p:spPr>
          <a:xfrm>
            <a:off x="8659783" y="4403542"/>
            <a:ext cx="2398852" cy="506677"/>
          </a:xfrm>
          <a:prstGeom prst="rect">
            <a:avLst/>
          </a:prstGeom>
        </p:spPr>
        <p:txBody>
          <a:bodyPr wrap="square">
            <a:spAutoFit/>
          </a:bodyPr>
          <a:lstStyle/>
          <a:p>
            <a:pPr>
              <a:lnSpc>
                <a:spcPct val="130000"/>
              </a:lnSpc>
              <a:spcAft>
                <a:spcPts val="1800"/>
              </a:spcAft>
            </a:pPr>
            <a:r>
              <a:rPr lang="en-US" sz="1100"/>
              <a:t>Your </a:t>
            </a:r>
            <a:r>
              <a:rPr lang="en-US" sz="1100" b="1">
                <a:solidFill>
                  <a:schemeClr val="accent1"/>
                </a:solidFill>
              </a:rPr>
              <a:t>solution </a:t>
            </a:r>
            <a:r>
              <a:rPr lang="en-US" sz="1100"/>
              <a:t>to the problem – Technical architecture</a:t>
            </a:r>
          </a:p>
        </p:txBody>
      </p:sp>
      <p:cxnSp>
        <p:nvCxnSpPr>
          <p:cNvPr id="8" name="Straight Connector 7"/>
          <p:cNvCxnSpPr>
            <a:cxnSpLocks/>
            <a:endCxn id="27" idx="0"/>
          </p:cNvCxnSpPr>
          <p:nvPr/>
        </p:nvCxnSpPr>
        <p:spPr>
          <a:xfrm>
            <a:off x="2080017" y="3079246"/>
            <a:ext cx="1187051" cy="0"/>
          </a:xfrm>
          <a:prstGeom prst="line">
            <a:avLst/>
          </a:prstGeom>
          <a:noFill/>
          <a:ln w="19050" cap="flat" cmpd="sng" algn="ctr">
            <a:solidFill>
              <a:schemeClr val="accent1">
                <a:lumMod val="75000"/>
              </a:schemeClr>
            </a:solidFill>
            <a:prstDash val="solid"/>
          </a:ln>
          <a:effectLst/>
        </p:spPr>
      </p:cxnSp>
      <p:cxnSp>
        <p:nvCxnSpPr>
          <p:cNvPr id="9" name="Straight Connector 8"/>
          <p:cNvCxnSpPr>
            <a:stCxn id="27" idx="2"/>
            <a:endCxn id="23" idx="2"/>
          </p:cNvCxnSpPr>
          <p:nvPr/>
        </p:nvCxnSpPr>
        <p:spPr>
          <a:xfrm>
            <a:off x="3447019" y="3251801"/>
            <a:ext cx="3554" cy="890628"/>
          </a:xfrm>
          <a:prstGeom prst="line">
            <a:avLst/>
          </a:prstGeom>
          <a:noFill/>
          <a:ln w="19050" cap="flat" cmpd="sng" algn="ctr">
            <a:solidFill>
              <a:schemeClr val="accent1">
                <a:lumMod val="75000"/>
              </a:schemeClr>
            </a:solidFill>
            <a:prstDash val="solid"/>
          </a:ln>
          <a:effectLst/>
        </p:spPr>
      </p:cxnSp>
      <p:cxnSp>
        <p:nvCxnSpPr>
          <p:cNvPr id="10" name="Straight Connector 9"/>
          <p:cNvCxnSpPr>
            <a:cxnSpLocks/>
          </p:cNvCxnSpPr>
          <p:nvPr/>
        </p:nvCxnSpPr>
        <p:spPr>
          <a:xfrm flipV="1">
            <a:off x="4346276" y="4330485"/>
            <a:ext cx="1260000" cy="877"/>
          </a:xfrm>
          <a:prstGeom prst="line">
            <a:avLst/>
          </a:prstGeom>
          <a:noFill/>
          <a:ln w="19050" cap="flat" cmpd="sng" algn="ctr">
            <a:solidFill>
              <a:schemeClr val="accent1">
                <a:lumMod val="75000"/>
              </a:schemeClr>
            </a:solidFill>
            <a:prstDash val="solid"/>
          </a:ln>
          <a:effectLst/>
        </p:spPr>
      </p:cxnSp>
      <p:cxnSp>
        <p:nvCxnSpPr>
          <p:cNvPr id="11" name="Straight Connector 10"/>
          <p:cNvCxnSpPr>
            <a:cxnSpLocks/>
            <a:stCxn id="24" idx="2"/>
            <a:endCxn id="25" idx="2"/>
          </p:cNvCxnSpPr>
          <p:nvPr/>
        </p:nvCxnSpPr>
        <p:spPr>
          <a:xfrm>
            <a:off x="5769158" y="4503040"/>
            <a:ext cx="0" cy="941435"/>
          </a:xfrm>
          <a:prstGeom prst="line">
            <a:avLst/>
          </a:prstGeom>
          <a:noFill/>
          <a:ln w="19050" cap="flat" cmpd="sng" algn="ctr">
            <a:solidFill>
              <a:schemeClr val="accent1">
                <a:lumMod val="75000"/>
              </a:schemeClr>
            </a:solidFill>
            <a:prstDash val="solid"/>
          </a:ln>
          <a:effectLst/>
        </p:spPr>
      </p:cxnSp>
      <p:cxnSp>
        <p:nvCxnSpPr>
          <p:cNvPr id="12" name="Straight Connector 11"/>
          <p:cNvCxnSpPr>
            <a:stCxn id="32" idx="0"/>
            <a:endCxn id="26" idx="0"/>
          </p:cNvCxnSpPr>
          <p:nvPr/>
        </p:nvCxnSpPr>
        <p:spPr>
          <a:xfrm>
            <a:off x="8455654" y="3991823"/>
            <a:ext cx="4575" cy="1449323"/>
          </a:xfrm>
          <a:prstGeom prst="line">
            <a:avLst/>
          </a:prstGeom>
          <a:noFill/>
          <a:ln w="19050" cap="flat" cmpd="sng" algn="ctr">
            <a:solidFill>
              <a:schemeClr val="accent1">
                <a:lumMod val="75000"/>
              </a:schemeClr>
            </a:solidFill>
            <a:prstDash val="solid"/>
          </a:ln>
          <a:effectLst/>
        </p:spPr>
      </p:cxnSp>
      <p:cxnSp>
        <p:nvCxnSpPr>
          <p:cNvPr id="13" name="Straight Connector 12"/>
          <p:cNvCxnSpPr>
            <a:cxnSpLocks/>
          </p:cNvCxnSpPr>
          <p:nvPr/>
        </p:nvCxnSpPr>
        <p:spPr>
          <a:xfrm flipV="1">
            <a:off x="8627855" y="3802724"/>
            <a:ext cx="593680" cy="5844"/>
          </a:xfrm>
          <a:prstGeom prst="line">
            <a:avLst/>
          </a:prstGeom>
          <a:noFill/>
          <a:ln w="19050" cap="flat" cmpd="sng" algn="ctr">
            <a:solidFill>
              <a:schemeClr val="accent1">
                <a:lumMod val="75000"/>
              </a:schemeClr>
            </a:solidFill>
            <a:prstDash val="solid"/>
          </a:ln>
          <a:effectLst/>
        </p:spPr>
      </p:cxnSp>
      <p:cxnSp>
        <p:nvCxnSpPr>
          <p:cNvPr id="14" name="Straight Connector 13"/>
          <p:cNvCxnSpPr>
            <a:cxnSpLocks/>
            <a:stCxn id="25" idx="0"/>
          </p:cNvCxnSpPr>
          <p:nvPr/>
        </p:nvCxnSpPr>
        <p:spPr>
          <a:xfrm>
            <a:off x="5949109" y="5617030"/>
            <a:ext cx="834564" cy="0"/>
          </a:xfrm>
          <a:prstGeom prst="line">
            <a:avLst/>
          </a:prstGeom>
          <a:noFill/>
          <a:ln w="19050" cap="flat" cmpd="sng" algn="ctr">
            <a:solidFill>
              <a:schemeClr val="accent1">
                <a:lumMod val="75000"/>
              </a:schemeClr>
            </a:solidFill>
            <a:prstDash val="solid"/>
          </a:ln>
          <a:effectLst/>
        </p:spPr>
      </p:cxnSp>
      <p:sp>
        <p:nvSpPr>
          <p:cNvPr id="15" name="TextBox 14"/>
          <p:cNvSpPr txBox="1"/>
          <p:nvPr/>
        </p:nvSpPr>
        <p:spPr>
          <a:xfrm>
            <a:off x="3447019" y="4599791"/>
            <a:ext cx="2190569" cy="307777"/>
          </a:xfrm>
          <a:prstGeom prst="rect">
            <a:avLst/>
          </a:prstGeom>
          <a:noFill/>
        </p:spPr>
        <p:txBody>
          <a:bodyPr wrap="square" rtlCol="0">
            <a:spAutoFit/>
          </a:bodyPr>
          <a:lstStyle/>
          <a:p>
            <a:pPr marL="0" marR="0" lvl="0" indent="0" algn="l" defTabSz="1075334" rtl="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a:ln>
                  <a:noFill/>
                </a:ln>
                <a:effectLst/>
                <a:uLnTx/>
                <a:uFillTx/>
                <a:ea typeface="Verdana" panose="020B0604030504040204" pitchFamily="34" charset="0"/>
                <a:cs typeface="Verdana" panose="020B0604030504040204" pitchFamily="34" charset="0"/>
              </a:rPr>
              <a:t>Journey</a:t>
            </a:r>
            <a:endParaRPr kumimoji="0" lang="en-US" sz="1200" b="1" i="0" strike="noStrike" kern="0" cap="none" spc="0" normalizeH="0" baseline="0">
              <a:ln>
                <a:noFill/>
              </a:ln>
              <a:effectLst/>
              <a:uLnTx/>
              <a:uFillTx/>
              <a:ea typeface="Verdana" panose="020B0604030504040204" pitchFamily="34" charset="0"/>
              <a:cs typeface="Verdana" panose="020B0604030504040204" pitchFamily="34" charset="0"/>
            </a:endParaRPr>
          </a:p>
        </p:txBody>
      </p:sp>
      <p:sp>
        <p:nvSpPr>
          <p:cNvPr id="17" name="TextBox 16">
            <a:extLst>
              <a:ext uri="{FF2B5EF4-FFF2-40B4-BE49-F238E27FC236}">
                <a16:creationId xmlns:a16="http://schemas.microsoft.com/office/drawing/2014/main" id="{4147A2A1-366B-4248-87AB-8E5D6D0028D7}"/>
              </a:ext>
            </a:extLst>
          </p:cNvPr>
          <p:cNvSpPr txBox="1"/>
          <p:nvPr/>
        </p:nvSpPr>
        <p:spPr>
          <a:xfrm>
            <a:off x="6016834" y="4251287"/>
            <a:ext cx="2261520" cy="307777"/>
          </a:xfrm>
          <a:prstGeom prst="rect">
            <a:avLst/>
          </a:prstGeom>
          <a:noFill/>
        </p:spPr>
        <p:txBody>
          <a:bodyPr wrap="square" rtlCol="0">
            <a:spAutoFit/>
          </a:bodyPr>
          <a:lstStyle/>
          <a:p>
            <a:pPr marL="0" marR="0" lvl="0" indent="0" algn="l" defTabSz="1075334" rtl="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noProof="0">
                <a:ln>
                  <a:noFill/>
                </a:ln>
                <a:effectLst/>
                <a:uLnTx/>
                <a:uFillTx/>
                <a:ea typeface="Open Sans SemiBold" panose="020B0606030504020204" pitchFamily="34" charset="0"/>
                <a:cs typeface="Open Sans SemiBold" panose="020B0606030504020204" pitchFamily="34" charset="0"/>
              </a:rPr>
              <a:t>Approach</a:t>
            </a:r>
          </a:p>
        </p:txBody>
      </p:sp>
      <p:sp>
        <p:nvSpPr>
          <p:cNvPr id="18" name="TextBox 17">
            <a:extLst>
              <a:ext uri="{FF2B5EF4-FFF2-40B4-BE49-F238E27FC236}">
                <a16:creationId xmlns:a16="http://schemas.microsoft.com/office/drawing/2014/main" id="{E0FCBF2F-F44B-9A43-92AB-8FA165AABEB8}"/>
              </a:ext>
            </a:extLst>
          </p:cNvPr>
          <p:cNvSpPr txBox="1"/>
          <p:nvPr/>
        </p:nvSpPr>
        <p:spPr>
          <a:xfrm>
            <a:off x="8627855" y="4123687"/>
            <a:ext cx="2330494" cy="307777"/>
          </a:xfrm>
          <a:prstGeom prst="rect">
            <a:avLst/>
          </a:prstGeom>
          <a:noFill/>
        </p:spPr>
        <p:txBody>
          <a:bodyPr wrap="square" rtlCol="0">
            <a:spAutoFit/>
          </a:bodyPr>
          <a:lstStyle/>
          <a:p>
            <a:pPr marL="0" marR="0" lvl="0" indent="0" algn="l" defTabSz="1075334" rtl="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noProof="0">
                <a:ln>
                  <a:noFill/>
                </a:ln>
                <a:effectLst/>
                <a:uLnTx/>
                <a:uFillTx/>
                <a:ea typeface="Open Sans SemiBold" panose="020B0606030504020204" pitchFamily="34" charset="0"/>
                <a:cs typeface="Open Sans SemiBold" panose="020B0606030504020204" pitchFamily="34" charset="0"/>
              </a:rPr>
              <a:t>Solution</a:t>
            </a:r>
            <a:endParaRPr kumimoji="0" lang="en-US" sz="1100" b="1" i="0" strike="noStrike" kern="0" cap="none" spc="0" normalizeH="0" baseline="0" noProof="0">
              <a:ln>
                <a:noFill/>
              </a:ln>
              <a:effectLst/>
              <a:uLnTx/>
              <a:uFillTx/>
              <a:ea typeface="Open Sans SemiBold" panose="020B0606030504020204" pitchFamily="34" charset="0"/>
              <a:cs typeface="Open Sans SemiBold" panose="020B0606030504020204" pitchFamily="34" charset="0"/>
            </a:endParaRPr>
          </a:p>
        </p:txBody>
      </p:sp>
      <p:sp>
        <p:nvSpPr>
          <p:cNvPr id="19" name="TextBox 18">
            <a:extLst>
              <a:ext uri="{FF2B5EF4-FFF2-40B4-BE49-F238E27FC236}">
                <a16:creationId xmlns:a16="http://schemas.microsoft.com/office/drawing/2014/main" id="{9D3DFC6A-FDC9-D24F-8AF4-5A97FFB2B687}"/>
              </a:ext>
            </a:extLst>
          </p:cNvPr>
          <p:cNvSpPr txBox="1"/>
          <p:nvPr/>
        </p:nvSpPr>
        <p:spPr>
          <a:xfrm>
            <a:off x="1504916" y="3325960"/>
            <a:ext cx="1792591" cy="307777"/>
          </a:xfrm>
          <a:prstGeom prst="rect">
            <a:avLst/>
          </a:prstGeom>
          <a:noFill/>
        </p:spPr>
        <p:txBody>
          <a:bodyPr wrap="square" rtlCol="0">
            <a:spAutoFit/>
          </a:bodyPr>
          <a:lstStyle/>
          <a:p>
            <a:pPr marL="0" marR="0" lvl="0" indent="0" algn="l" defTabSz="1075334" rtl="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noProof="0">
                <a:ln>
                  <a:noFill/>
                </a:ln>
                <a:effectLst/>
                <a:uLnTx/>
                <a:uFillTx/>
                <a:ea typeface="Open Sans SemiBold" panose="020B0606030504020204" pitchFamily="34" charset="0"/>
                <a:cs typeface="Open Sans SemiBold" panose="020B0606030504020204" pitchFamily="34" charset="0"/>
              </a:rPr>
              <a:t>Team</a:t>
            </a:r>
          </a:p>
        </p:txBody>
      </p:sp>
      <p:sp>
        <p:nvSpPr>
          <p:cNvPr id="20" name="Rectangle 19">
            <a:extLst>
              <a:ext uri="{FF2B5EF4-FFF2-40B4-BE49-F238E27FC236}">
                <a16:creationId xmlns:a16="http://schemas.microsoft.com/office/drawing/2014/main" id="{3841C40C-3DE7-A540-8A29-6E32BCC9BA95}"/>
              </a:ext>
            </a:extLst>
          </p:cNvPr>
          <p:cNvSpPr/>
          <p:nvPr/>
        </p:nvSpPr>
        <p:spPr>
          <a:xfrm>
            <a:off x="3447020" y="4939355"/>
            <a:ext cx="1920155" cy="485720"/>
          </a:xfrm>
          <a:prstGeom prst="rect">
            <a:avLst/>
          </a:prstGeom>
        </p:spPr>
        <p:txBody>
          <a:bodyPr wrap="square">
            <a:spAutoFit/>
          </a:bodyPr>
          <a:lstStyle/>
          <a:p>
            <a:pPr>
              <a:lnSpc>
                <a:spcPct val="130000"/>
              </a:lnSpc>
              <a:spcAft>
                <a:spcPts val="1800"/>
              </a:spcAft>
            </a:pPr>
            <a:r>
              <a:rPr lang="en-US" sz="1100"/>
              <a:t>Address the problem - </a:t>
            </a:r>
            <a:r>
              <a:rPr lang="en-US" sz="1100" b="1">
                <a:solidFill>
                  <a:schemeClr val="accent1"/>
                </a:solidFill>
              </a:rPr>
              <a:t>Tell a story</a:t>
            </a:r>
            <a:endParaRPr lang="en-US" sz="1100"/>
          </a:p>
        </p:txBody>
      </p:sp>
      <p:sp>
        <p:nvSpPr>
          <p:cNvPr id="21" name="Rectangle 20">
            <a:extLst>
              <a:ext uri="{FF2B5EF4-FFF2-40B4-BE49-F238E27FC236}">
                <a16:creationId xmlns:a16="http://schemas.microsoft.com/office/drawing/2014/main" id="{3841C40C-3DE7-A540-8A29-6E32BCC9BA95}"/>
              </a:ext>
            </a:extLst>
          </p:cNvPr>
          <p:cNvSpPr/>
          <p:nvPr/>
        </p:nvSpPr>
        <p:spPr>
          <a:xfrm>
            <a:off x="6016981" y="4557076"/>
            <a:ext cx="2271047" cy="430887"/>
          </a:xfrm>
          <a:prstGeom prst="rect">
            <a:avLst/>
          </a:prstGeom>
        </p:spPr>
        <p:txBody>
          <a:bodyPr wrap="square">
            <a:spAutoFit/>
          </a:bodyPr>
          <a:lstStyle/>
          <a:p>
            <a:pPr marL="0" lvl="2">
              <a:spcAft>
                <a:spcPts val="600"/>
              </a:spcAft>
              <a:defRPr/>
            </a:pPr>
            <a:r>
              <a:rPr lang="en-US" sz="1100"/>
              <a:t>Describe your </a:t>
            </a:r>
            <a:r>
              <a:rPr lang="en-US" sz="1100" b="1">
                <a:solidFill>
                  <a:schemeClr val="accent1"/>
                </a:solidFill>
              </a:rPr>
              <a:t>approach</a:t>
            </a:r>
            <a:r>
              <a:rPr lang="en-US" sz="1100"/>
              <a:t> to solve the problem</a:t>
            </a:r>
            <a:endParaRPr lang="pt-PT" sz="1100">
              <a:solidFill>
                <a:prstClr val="black"/>
              </a:solidFill>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3841C40C-3DE7-A540-8A29-6E32BCC9BA95}"/>
              </a:ext>
            </a:extLst>
          </p:cNvPr>
          <p:cNvSpPr/>
          <p:nvPr/>
        </p:nvSpPr>
        <p:spPr>
          <a:xfrm>
            <a:off x="1520811" y="3636991"/>
            <a:ext cx="1816617" cy="250790"/>
          </a:xfrm>
          <a:prstGeom prst="rect">
            <a:avLst/>
          </a:prstGeom>
        </p:spPr>
        <p:txBody>
          <a:bodyPr wrap="square">
            <a:spAutoFit/>
          </a:bodyPr>
          <a:lstStyle/>
          <a:p>
            <a:pPr marL="0" marR="0" lvl="2" algn="l" defTabSz="1219170" rtl="0" eaLnBrk="1" fontAlgn="auto" latinLnBrk="0" hangingPunct="1">
              <a:lnSpc>
                <a:spcPct val="100000"/>
              </a:lnSpc>
              <a:spcBef>
                <a:spcPts val="0"/>
              </a:spcBef>
              <a:spcAft>
                <a:spcPts val="600"/>
              </a:spcAft>
              <a:buClrTx/>
              <a:buSzTx/>
              <a:tabLst/>
              <a:defRPr/>
            </a:pPr>
            <a:r>
              <a:rPr lang="en-US" sz="1100">
                <a:solidFill>
                  <a:prstClr val="black"/>
                </a:solidFill>
                <a:ea typeface="Open Sans" panose="020B0606030504020204" pitchFamily="34" charset="0"/>
                <a:cs typeface="Open Sans" panose="020B0606030504020204" pitchFamily="34" charset="0"/>
              </a:rPr>
              <a:t>Introduce your </a:t>
            </a:r>
            <a:r>
              <a:rPr lang="en-US" sz="1100" b="1">
                <a:solidFill>
                  <a:schemeClr val="accent1"/>
                </a:solidFill>
                <a:ea typeface="Open Sans" panose="020B0606030504020204" pitchFamily="34" charset="0"/>
                <a:cs typeface="Open Sans" panose="020B0606030504020204" pitchFamily="34" charset="0"/>
              </a:rPr>
              <a:t>team</a:t>
            </a:r>
          </a:p>
        </p:txBody>
      </p:sp>
      <p:sp>
        <p:nvSpPr>
          <p:cNvPr id="23" name="Arc 22"/>
          <p:cNvSpPr/>
          <p:nvPr/>
        </p:nvSpPr>
        <p:spPr>
          <a:xfrm flipH="1" flipV="1">
            <a:off x="3450573" y="3954376"/>
            <a:ext cx="400883" cy="376108"/>
          </a:xfrm>
          <a:prstGeom prst="arc">
            <a:avLst>
              <a:gd name="adj1" fmla="val 16200940"/>
              <a:gd name="adj2" fmla="val 0"/>
            </a:avLst>
          </a:prstGeom>
          <a:noFill/>
          <a:ln w="19050" cap="flat" cmpd="sng" algn="ctr">
            <a:solidFill>
              <a:schemeClr val="accent1">
                <a:lumMod val="75000"/>
              </a:schemeClr>
            </a:solidFill>
            <a:prstDash val="solid"/>
          </a:ln>
          <a:effectLst/>
        </p:spPr>
        <p:txBody>
          <a:bodyPr rtlCol="0" anchor="ctr"/>
          <a:lstStyle/>
          <a:p>
            <a:pPr marL="0" marR="0" lvl="0" indent="0" algn="ctr" defTabSz="10753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4" name="Arc 23"/>
          <p:cNvSpPr/>
          <p:nvPr/>
        </p:nvSpPr>
        <p:spPr>
          <a:xfrm>
            <a:off x="5409158" y="4330485"/>
            <a:ext cx="360000" cy="345110"/>
          </a:xfrm>
          <a:prstGeom prst="arc">
            <a:avLst>
              <a:gd name="adj1" fmla="val 16200940"/>
              <a:gd name="adj2" fmla="val 0"/>
            </a:avLst>
          </a:prstGeom>
          <a:noFill/>
          <a:ln w="19050" cap="flat" cmpd="sng" algn="ctr">
            <a:solidFill>
              <a:schemeClr val="accent1">
                <a:lumMod val="75000"/>
              </a:schemeClr>
            </a:solidFill>
            <a:prstDash val="solid"/>
          </a:ln>
          <a:effectLst/>
        </p:spPr>
        <p:txBody>
          <a:bodyPr rtlCol="0" anchor="ctr"/>
          <a:lstStyle/>
          <a:p>
            <a:pPr marL="0" marR="0" lvl="0" indent="0" algn="ctr" defTabSz="10753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5" name="Arc 24"/>
          <p:cNvSpPr/>
          <p:nvPr/>
        </p:nvSpPr>
        <p:spPr>
          <a:xfrm flipH="1" flipV="1">
            <a:off x="5769158" y="5271920"/>
            <a:ext cx="360000" cy="345110"/>
          </a:xfrm>
          <a:prstGeom prst="arc">
            <a:avLst>
              <a:gd name="adj1" fmla="val 16200940"/>
              <a:gd name="adj2" fmla="val 0"/>
            </a:avLst>
          </a:prstGeom>
          <a:noFill/>
          <a:ln w="19050" cap="flat" cmpd="sng" algn="ctr">
            <a:solidFill>
              <a:schemeClr val="accent1">
                <a:lumMod val="75000"/>
              </a:schemeClr>
            </a:solidFill>
            <a:prstDash val="solid"/>
          </a:ln>
          <a:effectLst/>
        </p:spPr>
        <p:txBody>
          <a:bodyPr rtlCol="0" anchor="ctr"/>
          <a:lstStyle/>
          <a:p>
            <a:pPr marL="0" marR="0" lvl="0" indent="0" algn="ctr" defTabSz="10753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6" name="Arc 25"/>
          <p:cNvSpPr/>
          <p:nvPr/>
        </p:nvSpPr>
        <p:spPr>
          <a:xfrm rot="16200000" flipH="1" flipV="1">
            <a:off x="8107674" y="5261097"/>
            <a:ext cx="345110" cy="360000"/>
          </a:xfrm>
          <a:prstGeom prst="arc">
            <a:avLst>
              <a:gd name="adj1" fmla="val 16200940"/>
              <a:gd name="adj2" fmla="val 0"/>
            </a:avLst>
          </a:prstGeom>
          <a:noFill/>
          <a:ln w="19050" cap="flat" cmpd="sng" algn="ctr">
            <a:solidFill>
              <a:schemeClr val="accent1">
                <a:lumMod val="75000"/>
              </a:schemeClr>
            </a:solidFill>
            <a:prstDash val="solid"/>
          </a:ln>
          <a:effectLst/>
        </p:spPr>
        <p:txBody>
          <a:bodyPr rtlCol="0" anchor="ctr"/>
          <a:lstStyle/>
          <a:p>
            <a:pPr marL="0" marR="0" lvl="0" indent="0" algn="ctr" defTabSz="10753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7" name="Arc 26"/>
          <p:cNvSpPr/>
          <p:nvPr/>
        </p:nvSpPr>
        <p:spPr>
          <a:xfrm>
            <a:off x="3087019" y="3079246"/>
            <a:ext cx="360000" cy="345110"/>
          </a:xfrm>
          <a:prstGeom prst="arc">
            <a:avLst>
              <a:gd name="adj1" fmla="val 16200940"/>
              <a:gd name="adj2" fmla="val 0"/>
            </a:avLst>
          </a:prstGeom>
          <a:noFill/>
          <a:ln w="19050" cap="flat" cmpd="sng" algn="ctr">
            <a:solidFill>
              <a:schemeClr val="accent1">
                <a:lumMod val="75000"/>
              </a:schemeClr>
            </a:solidFill>
            <a:prstDash val="solid"/>
          </a:ln>
          <a:effectLst/>
        </p:spPr>
        <p:txBody>
          <a:bodyPr rtlCol="0" anchor="ctr"/>
          <a:lstStyle/>
          <a:p>
            <a:pPr marL="0" marR="0" lvl="0" indent="0" algn="ctr" defTabSz="10753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cxnSp>
        <p:nvCxnSpPr>
          <p:cNvPr id="31" name="Straight Connector 30"/>
          <p:cNvCxnSpPr>
            <a:cxnSpLocks/>
            <a:endCxn id="26" idx="2"/>
          </p:cNvCxnSpPr>
          <p:nvPr/>
        </p:nvCxnSpPr>
        <p:spPr>
          <a:xfrm flipV="1">
            <a:off x="7299718" y="5613652"/>
            <a:ext cx="980511" cy="3378"/>
          </a:xfrm>
          <a:prstGeom prst="line">
            <a:avLst/>
          </a:prstGeom>
          <a:noFill/>
          <a:ln w="19050" cap="flat" cmpd="sng" algn="ctr">
            <a:solidFill>
              <a:schemeClr val="accent1">
                <a:lumMod val="75000"/>
              </a:schemeClr>
            </a:solidFill>
            <a:prstDash val="solid"/>
          </a:ln>
          <a:effectLst/>
        </p:spPr>
      </p:cxnSp>
      <p:sp>
        <p:nvSpPr>
          <p:cNvPr id="32" name="Arc 31"/>
          <p:cNvSpPr/>
          <p:nvPr/>
        </p:nvSpPr>
        <p:spPr>
          <a:xfrm rot="5400000" flipH="1" flipV="1">
            <a:off x="8455060" y="3809162"/>
            <a:ext cx="366609" cy="365421"/>
          </a:xfrm>
          <a:prstGeom prst="arc">
            <a:avLst>
              <a:gd name="adj1" fmla="val 16200940"/>
              <a:gd name="adj2" fmla="val 0"/>
            </a:avLst>
          </a:prstGeom>
          <a:noFill/>
          <a:ln w="19050" cap="flat" cmpd="sng" algn="ctr">
            <a:solidFill>
              <a:schemeClr val="accent1">
                <a:lumMod val="75000"/>
              </a:schemeClr>
            </a:solidFill>
            <a:prstDash val="solid"/>
          </a:ln>
          <a:effectLst/>
        </p:spPr>
        <p:txBody>
          <a:bodyPr rtlCol="0" anchor="ctr"/>
          <a:lstStyle/>
          <a:p>
            <a:pPr marL="0" marR="0" lvl="0" indent="0" algn="ctr" defTabSz="10753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40" name="Freeform 39"/>
          <p:cNvSpPr>
            <a:spLocks noEditPoints="1"/>
          </p:cNvSpPr>
          <p:nvPr/>
        </p:nvSpPr>
        <p:spPr bwMode="auto">
          <a:xfrm>
            <a:off x="3815045" y="4072994"/>
            <a:ext cx="538116" cy="5158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lumMod val="75000"/>
            </a:schemeClr>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cxnSp>
        <p:nvCxnSpPr>
          <p:cNvPr id="42" name="Straight Connector 41"/>
          <p:cNvCxnSpPr>
            <a:cxnSpLocks/>
          </p:cNvCxnSpPr>
          <p:nvPr/>
        </p:nvCxnSpPr>
        <p:spPr>
          <a:xfrm>
            <a:off x="9474324" y="2691022"/>
            <a:ext cx="1" cy="861022"/>
          </a:xfrm>
          <a:prstGeom prst="line">
            <a:avLst/>
          </a:prstGeom>
          <a:noFill/>
          <a:ln w="19050" cap="flat" cmpd="sng" algn="ctr">
            <a:solidFill>
              <a:schemeClr val="accent1">
                <a:lumMod val="75000"/>
              </a:schemeClr>
            </a:solidFill>
            <a:prstDash val="solid"/>
          </a:ln>
          <a:effectLst/>
        </p:spPr>
      </p:cxnSp>
      <p:sp>
        <p:nvSpPr>
          <p:cNvPr id="56" name="TextBox 55">
            <a:extLst>
              <a:ext uri="{FF2B5EF4-FFF2-40B4-BE49-F238E27FC236}">
                <a16:creationId xmlns:a16="http://schemas.microsoft.com/office/drawing/2014/main" id="{9D3DFC6A-FDC9-D24F-8AF4-5A97FFB2B687}"/>
              </a:ext>
            </a:extLst>
          </p:cNvPr>
          <p:cNvSpPr txBox="1"/>
          <p:nvPr/>
        </p:nvSpPr>
        <p:spPr>
          <a:xfrm>
            <a:off x="9742992" y="2259623"/>
            <a:ext cx="2170803" cy="307777"/>
          </a:xfrm>
          <a:prstGeom prst="rect">
            <a:avLst/>
          </a:prstGeom>
          <a:noFill/>
        </p:spPr>
        <p:txBody>
          <a:bodyPr wrap="square" rtlCol="0">
            <a:spAutoFit/>
          </a:bodyPr>
          <a:lstStyle/>
          <a:p>
            <a:pPr marL="0" marR="0" lvl="0" indent="0" algn="l" defTabSz="1075334" rtl="0" eaLnBrk="1" fontAlgn="auto" latinLnBrk="0" hangingPunct="1">
              <a:lnSpc>
                <a:spcPct val="100000"/>
              </a:lnSpc>
              <a:spcBef>
                <a:spcPts val="0"/>
              </a:spcBef>
              <a:spcAft>
                <a:spcPts val="0"/>
              </a:spcAft>
              <a:buClrTx/>
              <a:buSzTx/>
              <a:buFontTx/>
              <a:buNone/>
              <a:tabLst/>
              <a:defRPr/>
            </a:pPr>
            <a:r>
              <a:rPr lang="en-US" sz="1400" b="1" kern="0" noProof="0">
                <a:ea typeface="Open Sans SemiBold" panose="020B0606030504020204" pitchFamily="34" charset="0"/>
                <a:cs typeface="Open Sans SemiBold" panose="020B0606030504020204" pitchFamily="34" charset="0"/>
              </a:rPr>
              <a:t>Demo</a:t>
            </a:r>
            <a:endParaRPr kumimoji="0" lang="en-US" sz="1600" b="1" i="0" strike="noStrike" kern="0" cap="none" spc="0" normalizeH="0" baseline="0" noProof="0">
              <a:ln>
                <a:noFill/>
              </a:ln>
              <a:effectLst/>
              <a:uLnTx/>
              <a:uFillTx/>
              <a:ea typeface="Open Sans SemiBold" panose="020B0606030504020204" pitchFamily="34" charset="0"/>
              <a:cs typeface="Open Sans SemiBold" panose="020B0606030504020204" pitchFamily="34" charset="0"/>
            </a:endParaRPr>
          </a:p>
        </p:txBody>
      </p:sp>
      <p:sp>
        <p:nvSpPr>
          <p:cNvPr id="57" name="Rectangle 56">
            <a:extLst>
              <a:ext uri="{FF2B5EF4-FFF2-40B4-BE49-F238E27FC236}">
                <a16:creationId xmlns:a16="http://schemas.microsoft.com/office/drawing/2014/main" id="{3841C40C-3DE7-A540-8A29-6E32BCC9BA95}"/>
              </a:ext>
            </a:extLst>
          </p:cNvPr>
          <p:cNvSpPr/>
          <p:nvPr/>
        </p:nvSpPr>
        <p:spPr>
          <a:xfrm>
            <a:off x="9758887" y="2570655"/>
            <a:ext cx="2032591" cy="506677"/>
          </a:xfrm>
          <a:prstGeom prst="rect">
            <a:avLst/>
          </a:prstGeom>
        </p:spPr>
        <p:txBody>
          <a:bodyPr wrap="square">
            <a:spAutoFit/>
          </a:bodyPr>
          <a:lstStyle/>
          <a:p>
            <a:pPr>
              <a:lnSpc>
                <a:spcPct val="130000"/>
              </a:lnSpc>
              <a:spcAft>
                <a:spcPts val="1800"/>
              </a:spcAft>
            </a:pPr>
            <a:r>
              <a:rPr lang="en-US" sz="1100"/>
              <a:t>Present your </a:t>
            </a:r>
            <a:r>
              <a:rPr lang="en-US" sz="1100" b="1">
                <a:solidFill>
                  <a:schemeClr val="accent1"/>
                </a:solidFill>
              </a:rPr>
              <a:t>prototype</a:t>
            </a:r>
            <a:r>
              <a:rPr lang="en-US" sz="1100"/>
              <a:t> (demo)</a:t>
            </a:r>
          </a:p>
        </p:txBody>
      </p:sp>
      <p:sp>
        <p:nvSpPr>
          <p:cNvPr id="63" name="Rectangle 62">
            <a:extLst>
              <a:ext uri="{FF2B5EF4-FFF2-40B4-BE49-F238E27FC236}">
                <a16:creationId xmlns:a16="http://schemas.microsoft.com/office/drawing/2014/main" id="{3841C40C-3DE7-A540-8A29-6E32BCC9BA95}"/>
              </a:ext>
            </a:extLst>
          </p:cNvPr>
          <p:cNvSpPr/>
          <p:nvPr/>
        </p:nvSpPr>
        <p:spPr>
          <a:xfrm>
            <a:off x="3447324" y="5488569"/>
            <a:ext cx="1486711" cy="240893"/>
          </a:xfrm>
          <a:prstGeom prst="rect">
            <a:avLst/>
          </a:prstGeom>
        </p:spPr>
        <p:txBody>
          <a:bodyPr wrap="square">
            <a:spAutoFit/>
          </a:bodyPr>
          <a:lstStyle/>
          <a:p>
            <a:pPr>
              <a:lnSpc>
                <a:spcPct val="130000"/>
              </a:lnSpc>
              <a:spcAft>
                <a:spcPts val="1800"/>
              </a:spcAft>
            </a:pPr>
            <a:r>
              <a:rPr lang="en-US" sz="900"/>
              <a:t>1 slide* - 1 minute</a:t>
            </a:r>
          </a:p>
        </p:txBody>
      </p:sp>
      <p:sp>
        <p:nvSpPr>
          <p:cNvPr id="64" name="Rectangle 63">
            <a:extLst>
              <a:ext uri="{FF2B5EF4-FFF2-40B4-BE49-F238E27FC236}">
                <a16:creationId xmlns:a16="http://schemas.microsoft.com/office/drawing/2014/main" id="{3841C40C-3DE7-A540-8A29-6E32BCC9BA95}"/>
              </a:ext>
            </a:extLst>
          </p:cNvPr>
          <p:cNvSpPr/>
          <p:nvPr/>
        </p:nvSpPr>
        <p:spPr>
          <a:xfrm>
            <a:off x="6008486" y="5013173"/>
            <a:ext cx="1630735" cy="240893"/>
          </a:xfrm>
          <a:prstGeom prst="rect">
            <a:avLst/>
          </a:prstGeom>
        </p:spPr>
        <p:txBody>
          <a:bodyPr wrap="square">
            <a:spAutoFit/>
          </a:bodyPr>
          <a:lstStyle/>
          <a:p>
            <a:pPr>
              <a:lnSpc>
                <a:spcPct val="130000"/>
              </a:lnSpc>
              <a:spcAft>
                <a:spcPts val="1800"/>
              </a:spcAft>
            </a:pPr>
            <a:r>
              <a:rPr lang="en-US" sz="900"/>
              <a:t>1 slide* – 1,5 minute</a:t>
            </a:r>
          </a:p>
        </p:txBody>
      </p:sp>
      <p:sp>
        <p:nvSpPr>
          <p:cNvPr id="65" name="Rectangle 64">
            <a:extLst>
              <a:ext uri="{FF2B5EF4-FFF2-40B4-BE49-F238E27FC236}">
                <a16:creationId xmlns:a16="http://schemas.microsoft.com/office/drawing/2014/main" id="{3841C40C-3DE7-A540-8A29-6E32BCC9BA95}"/>
              </a:ext>
            </a:extLst>
          </p:cNvPr>
          <p:cNvSpPr/>
          <p:nvPr/>
        </p:nvSpPr>
        <p:spPr>
          <a:xfrm>
            <a:off x="8659783" y="4935576"/>
            <a:ext cx="1964546" cy="240893"/>
          </a:xfrm>
          <a:prstGeom prst="rect">
            <a:avLst/>
          </a:prstGeom>
        </p:spPr>
        <p:txBody>
          <a:bodyPr wrap="square">
            <a:spAutoFit/>
          </a:bodyPr>
          <a:lstStyle/>
          <a:p>
            <a:pPr>
              <a:lnSpc>
                <a:spcPct val="130000"/>
              </a:lnSpc>
              <a:spcAft>
                <a:spcPts val="1800"/>
              </a:spcAft>
            </a:pPr>
            <a:r>
              <a:rPr lang="en-US" sz="900"/>
              <a:t>1~2 slides* – 2,5 minutes</a:t>
            </a:r>
          </a:p>
        </p:txBody>
      </p:sp>
      <p:sp>
        <p:nvSpPr>
          <p:cNvPr id="69" name="Rectangle 68">
            <a:extLst>
              <a:ext uri="{FF2B5EF4-FFF2-40B4-BE49-F238E27FC236}">
                <a16:creationId xmlns:a16="http://schemas.microsoft.com/office/drawing/2014/main" id="{3841C40C-3DE7-A540-8A29-6E32BCC9BA95}"/>
              </a:ext>
            </a:extLst>
          </p:cNvPr>
          <p:cNvSpPr/>
          <p:nvPr/>
        </p:nvSpPr>
        <p:spPr>
          <a:xfrm>
            <a:off x="1520811" y="3912062"/>
            <a:ext cx="1597068" cy="240893"/>
          </a:xfrm>
          <a:prstGeom prst="rect">
            <a:avLst/>
          </a:prstGeom>
        </p:spPr>
        <p:txBody>
          <a:bodyPr wrap="square">
            <a:spAutoFit/>
          </a:bodyPr>
          <a:lstStyle/>
          <a:p>
            <a:pPr>
              <a:lnSpc>
                <a:spcPct val="130000"/>
              </a:lnSpc>
              <a:spcAft>
                <a:spcPts val="1800"/>
              </a:spcAft>
            </a:pPr>
            <a:r>
              <a:rPr lang="en-US" sz="900"/>
              <a:t>1 slide* – 1,5 minute</a:t>
            </a:r>
          </a:p>
        </p:txBody>
      </p:sp>
      <p:sp>
        <p:nvSpPr>
          <p:cNvPr id="70" name="Rectangle 69">
            <a:extLst>
              <a:ext uri="{FF2B5EF4-FFF2-40B4-BE49-F238E27FC236}">
                <a16:creationId xmlns:a16="http://schemas.microsoft.com/office/drawing/2014/main" id="{3841C40C-3DE7-A540-8A29-6E32BCC9BA95}"/>
              </a:ext>
            </a:extLst>
          </p:cNvPr>
          <p:cNvSpPr/>
          <p:nvPr/>
        </p:nvSpPr>
        <p:spPr>
          <a:xfrm>
            <a:off x="9779910" y="3112841"/>
            <a:ext cx="1553785" cy="251287"/>
          </a:xfrm>
          <a:prstGeom prst="rect">
            <a:avLst/>
          </a:prstGeom>
        </p:spPr>
        <p:txBody>
          <a:bodyPr wrap="square">
            <a:spAutoFit/>
          </a:bodyPr>
          <a:lstStyle/>
          <a:p>
            <a:pPr>
              <a:lnSpc>
                <a:spcPct val="130000"/>
              </a:lnSpc>
              <a:spcAft>
                <a:spcPts val="1800"/>
              </a:spcAft>
            </a:pPr>
            <a:r>
              <a:rPr lang="en-US" sz="900"/>
              <a:t>* 3,5 minute</a:t>
            </a:r>
          </a:p>
        </p:txBody>
      </p:sp>
      <p:sp>
        <p:nvSpPr>
          <p:cNvPr id="77" name="Rectangle 76"/>
          <p:cNvSpPr/>
          <p:nvPr/>
        </p:nvSpPr>
        <p:spPr bwMode="gray">
          <a:xfrm>
            <a:off x="1433017" y="5971707"/>
            <a:ext cx="2652071" cy="358981"/>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nSpc>
                <a:spcPct val="106000"/>
              </a:lnSpc>
              <a:buFont typeface="Wingdings 2" pitchFamily="18" charset="2"/>
              <a:buNone/>
            </a:pPr>
            <a:r>
              <a:rPr lang="en-US" sz="800">
                <a:solidFill>
                  <a:schemeClr val="tx1"/>
                </a:solidFill>
              </a:rPr>
              <a:t>*</a:t>
            </a:r>
            <a:r>
              <a:rPr lang="en-US" sz="800" i="1">
                <a:solidFill>
                  <a:schemeClr val="tx1"/>
                </a:solidFill>
              </a:rPr>
              <a:t>The time and number of slides are indicative.</a:t>
            </a:r>
          </a:p>
        </p:txBody>
      </p:sp>
      <p:sp>
        <p:nvSpPr>
          <p:cNvPr id="78" name="Rectangle 77"/>
          <p:cNvSpPr/>
          <p:nvPr/>
        </p:nvSpPr>
        <p:spPr bwMode="gray">
          <a:xfrm>
            <a:off x="9578117" y="3334226"/>
            <a:ext cx="2454055" cy="358981"/>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700" i="1">
                <a:solidFill>
                  <a:schemeClr val="tx1"/>
                </a:solidFill>
              </a:rPr>
              <a:t>Don’t forget to rehearse the presentation!</a:t>
            </a:r>
          </a:p>
        </p:txBody>
      </p:sp>
      <p:sp>
        <p:nvSpPr>
          <p:cNvPr id="35" name="Freeform 34"/>
          <p:cNvSpPr>
            <a:spLocks noEditPoints="1"/>
          </p:cNvSpPr>
          <p:nvPr/>
        </p:nvSpPr>
        <p:spPr bwMode="auto">
          <a:xfrm>
            <a:off x="1550434" y="2819076"/>
            <a:ext cx="538116" cy="5158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lumMod val="75000"/>
            </a:schemeClr>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66" name="Picture 65"/>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454409" y="2727022"/>
            <a:ext cx="730166" cy="699966"/>
          </a:xfrm>
          <a:prstGeom prst="rect">
            <a:avLst/>
          </a:prstGeom>
        </p:spPr>
      </p:pic>
      <p:grpSp>
        <p:nvGrpSpPr>
          <p:cNvPr id="114" name="Group 113">
            <a:extLst>
              <a:ext uri="{FF2B5EF4-FFF2-40B4-BE49-F238E27FC236}">
                <a16:creationId xmlns:a16="http://schemas.microsoft.com/office/drawing/2014/main" id="{F00D2173-3D21-2106-7482-6FB98FA076E2}"/>
              </a:ext>
            </a:extLst>
          </p:cNvPr>
          <p:cNvGrpSpPr/>
          <p:nvPr/>
        </p:nvGrpSpPr>
        <p:grpSpPr>
          <a:xfrm>
            <a:off x="9111292" y="2083296"/>
            <a:ext cx="730166" cy="699966"/>
            <a:chOff x="9111292" y="2293498"/>
            <a:chExt cx="730166" cy="699966"/>
          </a:xfrm>
        </p:grpSpPr>
        <p:sp>
          <p:nvSpPr>
            <p:cNvPr id="46" name="Freeform 45"/>
            <p:cNvSpPr>
              <a:spLocks noEditPoints="1"/>
            </p:cNvSpPr>
            <p:nvPr/>
          </p:nvSpPr>
          <p:spPr bwMode="auto">
            <a:xfrm>
              <a:off x="9205267" y="2385364"/>
              <a:ext cx="538116" cy="5158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lumMod val="75000"/>
              </a:schemeClr>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67" name="Picture 66"/>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111292" y="2293498"/>
              <a:ext cx="730166" cy="699966"/>
            </a:xfrm>
            <a:prstGeom prst="rect">
              <a:avLst/>
            </a:prstGeom>
          </p:spPr>
        </p:pic>
      </p:grpSp>
      <p:sp>
        <p:nvSpPr>
          <p:cNvPr id="29" name="Freeform 28"/>
          <p:cNvSpPr>
            <a:spLocks noEditPoints="1"/>
          </p:cNvSpPr>
          <p:nvPr/>
        </p:nvSpPr>
        <p:spPr bwMode="auto">
          <a:xfrm>
            <a:off x="9206084" y="3549200"/>
            <a:ext cx="538116" cy="5158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lumMod val="75000"/>
            </a:schemeClr>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68" name="Picture 67"/>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110057" y="3453524"/>
            <a:ext cx="728532" cy="698400"/>
          </a:xfrm>
          <a:prstGeom prst="rect">
            <a:avLst/>
          </a:prstGeom>
        </p:spPr>
      </p:pic>
      <p:pic>
        <p:nvPicPr>
          <p:cNvPr id="79" name="Picture 78"/>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728270" y="3984884"/>
            <a:ext cx="721022" cy="691200"/>
          </a:xfrm>
          <a:prstGeom prst="rect">
            <a:avLst/>
          </a:prstGeom>
        </p:spPr>
      </p:pic>
      <p:cxnSp>
        <p:nvCxnSpPr>
          <p:cNvPr id="16" name="Straight Connector 15"/>
          <p:cNvCxnSpPr>
            <a:cxnSpLocks/>
            <a:stCxn id="23" idx="0"/>
          </p:cNvCxnSpPr>
          <p:nvPr/>
        </p:nvCxnSpPr>
        <p:spPr>
          <a:xfrm>
            <a:off x="3650963" y="4330484"/>
            <a:ext cx="180322" cy="878"/>
          </a:xfrm>
          <a:prstGeom prst="line">
            <a:avLst/>
          </a:prstGeom>
          <a:noFill/>
          <a:ln w="19050" cap="flat" cmpd="sng" algn="ctr">
            <a:solidFill>
              <a:schemeClr val="accent1">
                <a:lumMod val="75000"/>
              </a:schemeClr>
            </a:solidFill>
            <a:prstDash val="solid"/>
          </a:ln>
          <a:effectLst/>
        </p:spPr>
      </p:cxnSp>
      <p:sp>
        <p:nvSpPr>
          <p:cNvPr id="38" name="Freeform 37"/>
          <p:cNvSpPr>
            <a:spLocks noEditPoints="1"/>
          </p:cNvSpPr>
          <p:nvPr/>
        </p:nvSpPr>
        <p:spPr bwMode="auto">
          <a:xfrm>
            <a:off x="6768608" y="5355722"/>
            <a:ext cx="538116" cy="5158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lumMod val="75000"/>
            </a:schemeClr>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80" name="Picture 79"/>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77155" y="5268541"/>
            <a:ext cx="721022" cy="691200"/>
          </a:xfrm>
          <a:prstGeom prst="rect">
            <a:avLst/>
          </a:prstGeom>
        </p:spPr>
      </p:pic>
      <p:sp>
        <p:nvSpPr>
          <p:cNvPr id="107" name="Text Placeholder 5">
            <a:extLst>
              <a:ext uri="{FF2B5EF4-FFF2-40B4-BE49-F238E27FC236}">
                <a16:creationId xmlns:a16="http://schemas.microsoft.com/office/drawing/2014/main" id="{D87F9151-3712-288D-139B-7F71465AB883}"/>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Pitch Guidelines</a:t>
            </a:r>
            <a:endParaRPr lang="en-US" noProof="0"/>
          </a:p>
        </p:txBody>
      </p:sp>
      <p:sp>
        <p:nvSpPr>
          <p:cNvPr id="108" name="Title 2">
            <a:extLst>
              <a:ext uri="{FF2B5EF4-FFF2-40B4-BE49-F238E27FC236}">
                <a16:creationId xmlns:a16="http://schemas.microsoft.com/office/drawing/2014/main" id="{2DAF86EB-CF10-B281-4AEE-1F5F072444BF}"/>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a:t>Deloitte Tech Experience</a:t>
            </a:r>
          </a:p>
        </p:txBody>
      </p:sp>
      <p:sp>
        <p:nvSpPr>
          <p:cNvPr id="118" name="Content Placeholder 4">
            <a:extLst>
              <a:ext uri="{FF2B5EF4-FFF2-40B4-BE49-F238E27FC236}">
                <a16:creationId xmlns:a16="http://schemas.microsoft.com/office/drawing/2014/main" id="{CB27632A-F7E2-0416-4E8A-1B654422627D}"/>
              </a:ext>
            </a:extLst>
          </p:cNvPr>
          <p:cNvSpPr txBox="1">
            <a:spLocks/>
          </p:cNvSpPr>
          <p:nvPr/>
        </p:nvSpPr>
        <p:spPr>
          <a:xfrm>
            <a:off x="1342260" y="1349048"/>
            <a:ext cx="10006939" cy="4633913"/>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buClr>
                <a:schemeClr val="accent1"/>
              </a:buClr>
            </a:pPr>
            <a:r>
              <a:rPr lang="en-US" sz="1100" b="1"/>
              <a:t>You will need to pitch your solution, the chatbot</a:t>
            </a:r>
            <a:r>
              <a:rPr lang="en-US" sz="1100"/>
              <a:t>. For the pitch you can be as disruptive as you would like. Create a slide deck, do a live presentation any other way.</a:t>
            </a:r>
          </a:p>
          <a:p>
            <a:pPr marL="171450" indent="-171450">
              <a:buClr>
                <a:schemeClr val="accent1"/>
              </a:buClr>
              <a:buFont typeface="Verdana" panose="020B0604030504040204" pitchFamily="34" charset="0"/>
              <a:buChar char="»"/>
            </a:pPr>
            <a:r>
              <a:rPr lang="en-US" sz="1100"/>
              <a:t>As a guideline, you pitch could follow To improve your success, make sure your pitch enthusiastically follow these topics:</a:t>
            </a:r>
          </a:p>
        </p:txBody>
      </p:sp>
      <p:sp>
        <p:nvSpPr>
          <p:cNvPr id="61" name="Rectangle: Rounded Corners 60">
            <a:extLst>
              <a:ext uri="{FF2B5EF4-FFF2-40B4-BE49-F238E27FC236}">
                <a16:creationId xmlns:a16="http://schemas.microsoft.com/office/drawing/2014/main" id="{BC1CD958-2BAA-99F7-D28D-5CAD0602F37A}"/>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1" name="Group 120">
            <a:extLst>
              <a:ext uri="{FF2B5EF4-FFF2-40B4-BE49-F238E27FC236}">
                <a16:creationId xmlns:a16="http://schemas.microsoft.com/office/drawing/2014/main" id="{0F7F072E-F783-7566-BCBC-9D6C9F37AD0B}"/>
              </a:ext>
            </a:extLst>
          </p:cNvPr>
          <p:cNvGrpSpPr/>
          <p:nvPr/>
        </p:nvGrpSpPr>
        <p:grpSpPr>
          <a:xfrm>
            <a:off x="374072" y="4323936"/>
            <a:ext cx="812507" cy="683616"/>
            <a:chOff x="374072" y="3183392"/>
            <a:chExt cx="812507" cy="683616"/>
          </a:xfrm>
        </p:grpSpPr>
        <p:sp>
          <p:nvSpPr>
            <p:cNvPr id="120" name="Rectangle: Rounded Corners 119">
              <a:extLst>
                <a:ext uri="{FF2B5EF4-FFF2-40B4-BE49-F238E27FC236}">
                  <a16:creationId xmlns:a16="http://schemas.microsoft.com/office/drawing/2014/main" id="{288F4661-7A26-D4D9-6331-C1DB239EC843}"/>
                </a:ext>
              </a:extLst>
            </p:cNvPr>
            <p:cNvSpPr/>
            <p:nvPr/>
          </p:nvSpPr>
          <p:spPr>
            <a:xfrm>
              <a:off x="374072" y="3183392"/>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 name="Graphic 4">
              <a:extLst>
                <a:ext uri="{FF2B5EF4-FFF2-40B4-BE49-F238E27FC236}">
                  <a16:creationId xmlns:a16="http://schemas.microsoft.com/office/drawing/2014/main" id="{79745907-0E8A-2D29-0A2E-DB60D11B67EB}"/>
                </a:ext>
              </a:extLst>
            </p:cNvPr>
            <p:cNvGrpSpPr>
              <a:grpSpLocks noChangeAspect="1"/>
            </p:cNvGrpSpPr>
            <p:nvPr/>
          </p:nvGrpSpPr>
          <p:grpSpPr>
            <a:xfrm>
              <a:off x="438479" y="3347319"/>
              <a:ext cx="360335" cy="360000"/>
              <a:chOff x="552729" y="1978558"/>
              <a:chExt cx="191059" cy="190881"/>
            </a:xfrm>
            <a:solidFill>
              <a:schemeClr val="bg1"/>
            </a:solidFill>
          </p:grpSpPr>
          <p:sp>
            <p:nvSpPr>
              <p:cNvPr id="3" name="Graphic 4">
                <a:extLst>
                  <a:ext uri="{FF2B5EF4-FFF2-40B4-BE49-F238E27FC236}">
                    <a16:creationId xmlns:a16="http://schemas.microsoft.com/office/drawing/2014/main" id="{646B1514-F3B6-B7E4-E7BA-6C840C8B9AEE}"/>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4" name="Graphic 4">
                <a:extLst>
                  <a:ext uri="{FF2B5EF4-FFF2-40B4-BE49-F238E27FC236}">
                    <a16:creationId xmlns:a16="http://schemas.microsoft.com/office/drawing/2014/main" id="{1E45F777-CFEB-2E96-9F59-A9D5AC02B307}"/>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5" name="Graphic 4">
                <a:extLst>
                  <a:ext uri="{FF2B5EF4-FFF2-40B4-BE49-F238E27FC236}">
                    <a16:creationId xmlns:a16="http://schemas.microsoft.com/office/drawing/2014/main" id="{DB9CC5C3-48AA-7BE5-55B6-E1C17BAE529F}"/>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6" name="Graphic 4">
                <a:extLst>
                  <a:ext uri="{FF2B5EF4-FFF2-40B4-BE49-F238E27FC236}">
                    <a16:creationId xmlns:a16="http://schemas.microsoft.com/office/drawing/2014/main" id="{38AF8FD5-32D0-DD78-36A3-08CF02EA0B69}"/>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AD10BAFD-9D92-D748-B90B-382FC0EADA2E}"/>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grpSp>
        <p:nvGrpSpPr>
          <p:cNvPr id="30" name="Graphic 1100">
            <a:extLst>
              <a:ext uri="{FF2B5EF4-FFF2-40B4-BE49-F238E27FC236}">
                <a16:creationId xmlns:a16="http://schemas.microsoft.com/office/drawing/2014/main" id="{F5DDA190-C2DD-261D-A4B2-58AE65E37970}"/>
              </a:ext>
            </a:extLst>
          </p:cNvPr>
          <p:cNvGrpSpPr>
            <a:grpSpLocks noChangeAspect="1"/>
          </p:cNvGrpSpPr>
          <p:nvPr/>
        </p:nvGrpSpPr>
        <p:grpSpPr>
          <a:xfrm>
            <a:off x="447688" y="5314360"/>
            <a:ext cx="263402" cy="360000"/>
            <a:chOff x="5810369" y="1478218"/>
            <a:chExt cx="159748" cy="218332"/>
          </a:xfrm>
          <a:solidFill>
            <a:schemeClr val="bg1"/>
          </a:solidFill>
        </p:grpSpPr>
        <p:sp>
          <p:nvSpPr>
            <p:cNvPr id="33" name="Graphic 1100">
              <a:extLst>
                <a:ext uri="{FF2B5EF4-FFF2-40B4-BE49-F238E27FC236}">
                  <a16:creationId xmlns:a16="http://schemas.microsoft.com/office/drawing/2014/main" id="{D63129FC-9C82-A6BC-E200-9474E2537467}"/>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34" name="Graphic 1100">
              <a:extLst>
                <a:ext uri="{FF2B5EF4-FFF2-40B4-BE49-F238E27FC236}">
                  <a16:creationId xmlns:a16="http://schemas.microsoft.com/office/drawing/2014/main" id="{4EEEFA21-DA13-379C-E0A4-77F719B5ED45}"/>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36" name="Graphic 1100">
              <a:extLst>
                <a:ext uri="{FF2B5EF4-FFF2-40B4-BE49-F238E27FC236}">
                  <a16:creationId xmlns:a16="http://schemas.microsoft.com/office/drawing/2014/main" id="{3186DEC9-75BF-8E6E-2924-5CD26D5B0C7E}"/>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37" name="Graphic 1100">
              <a:extLst>
                <a:ext uri="{FF2B5EF4-FFF2-40B4-BE49-F238E27FC236}">
                  <a16:creationId xmlns:a16="http://schemas.microsoft.com/office/drawing/2014/main" id="{CF1991F0-81C3-9126-6C47-CD02D5FEC493}"/>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48" name="Graphic 1100">
            <a:extLst>
              <a:ext uri="{FF2B5EF4-FFF2-40B4-BE49-F238E27FC236}">
                <a16:creationId xmlns:a16="http://schemas.microsoft.com/office/drawing/2014/main" id="{28503EE8-F544-3EC6-11B6-8C9B184F5D58}"/>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49" name="Graphic 1100">
              <a:extLst>
                <a:ext uri="{FF2B5EF4-FFF2-40B4-BE49-F238E27FC236}">
                  <a16:creationId xmlns:a16="http://schemas.microsoft.com/office/drawing/2014/main" id="{2B0BE823-DF21-A351-D644-4155F73FB66F}"/>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A0295E1F-F9CD-E475-7415-87E07EB019E5}"/>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1" name="Graphic 1100">
              <a:extLst>
                <a:ext uri="{FF2B5EF4-FFF2-40B4-BE49-F238E27FC236}">
                  <a16:creationId xmlns:a16="http://schemas.microsoft.com/office/drawing/2014/main" id="{6C3C7871-8900-6B45-9B2F-9A576DD371CF}"/>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2" name="Graphic 1100">
              <a:extLst>
                <a:ext uri="{FF2B5EF4-FFF2-40B4-BE49-F238E27FC236}">
                  <a16:creationId xmlns:a16="http://schemas.microsoft.com/office/drawing/2014/main" id="{F06E59B1-D6DC-335A-CEDD-90CC10DDFE47}"/>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53" name="Graphic 4">
            <a:extLst>
              <a:ext uri="{FF2B5EF4-FFF2-40B4-BE49-F238E27FC236}">
                <a16:creationId xmlns:a16="http://schemas.microsoft.com/office/drawing/2014/main" id="{9E6DFCFA-3827-BE5A-A4D5-61534EB873FB}"/>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54" name="Graphic 4">
              <a:extLst>
                <a:ext uri="{FF2B5EF4-FFF2-40B4-BE49-F238E27FC236}">
                  <a16:creationId xmlns:a16="http://schemas.microsoft.com/office/drawing/2014/main" id="{9A4396B1-D918-60C9-F429-619CC30E2C00}"/>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714284B9-4AD3-DF02-778C-A4D133D28B38}"/>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58" name="Graphic 4">
              <a:extLst>
                <a:ext uri="{FF2B5EF4-FFF2-40B4-BE49-F238E27FC236}">
                  <a16:creationId xmlns:a16="http://schemas.microsoft.com/office/drawing/2014/main" id="{877ABEB1-B106-BFC8-117E-25F8334E3294}"/>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130ADD0C-CFF9-878A-8654-27795537F101}"/>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105EB50C-FCCA-E2F2-0CE5-C8DBCEE09986}"/>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94EE006D-9988-7405-F039-EA4D67EB847C}"/>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75" name="Graphic 4">
            <a:extLst>
              <a:ext uri="{FF2B5EF4-FFF2-40B4-BE49-F238E27FC236}">
                <a16:creationId xmlns:a16="http://schemas.microsoft.com/office/drawing/2014/main" id="{FBE9FAE0-51AD-1A05-DD50-07112D71419B}"/>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pic>
        <p:nvPicPr>
          <p:cNvPr id="76" name="Graphic 75" descr="Upward trend with solid fill">
            <a:extLst>
              <a:ext uri="{FF2B5EF4-FFF2-40B4-BE49-F238E27FC236}">
                <a16:creationId xmlns:a16="http://schemas.microsoft.com/office/drawing/2014/main" id="{51FC9864-20B9-60ED-5DCB-50BE121D0B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8971" y="774249"/>
            <a:ext cx="396000" cy="396000"/>
          </a:xfrm>
          <a:prstGeom prst="rect">
            <a:avLst/>
          </a:prstGeom>
        </p:spPr>
      </p:pic>
      <p:grpSp>
        <p:nvGrpSpPr>
          <p:cNvPr id="81" name="Graphic 4">
            <a:extLst>
              <a:ext uri="{FF2B5EF4-FFF2-40B4-BE49-F238E27FC236}">
                <a16:creationId xmlns:a16="http://schemas.microsoft.com/office/drawing/2014/main" id="{9572506D-412A-EB29-86FB-BDC9E827F073}"/>
              </a:ext>
            </a:extLst>
          </p:cNvPr>
          <p:cNvGrpSpPr>
            <a:grpSpLocks noChangeAspect="1"/>
          </p:cNvGrpSpPr>
          <p:nvPr/>
        </p:nvGrpSpPr>
        <p:grpSpPr>
          <a:xfrm>
            <a:off x="421294" y="952548"/>
            <a:ext cx="287999" cy="276915"/>
            <a:chOff x="1573681" y="2918430"/>
            <a:chExt cx="246172" cy="236696"/>
          </a:xfrm>
          <a:solidFill>
            <a:schemeClr val="accent1">
              <a:lumMod val="40000"/>
              <a:lumOff val="60000"/>
            </a:schemeClr>
          </a:solidFill>
        </p:grpSpPr>
        <p:sp>
          <p:nvSpPr>
            <p:cNvPr id="93" name="Graphic 4">
              <a:extLst>
                <a:ext uri="{FF2B5EF4-FFF2-40B4-BE49-F238E27FC236}">
                  <a16:creationId xmlns:a16="http://schemas.microsoft.com/office/drawing/2014/main" id="{C53BCD6A-32B0-5D07-6A29-5A556153BE34}"/>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94" name="Graphic 4">
              <a:extLst>
                <a:ext uri="{FF2B5EF4-FFF2-40B4-BE49-F238E27FC236}">
                  <a16:creationId xmlns:a16="http://schemas.microsoft.com/office/drawing/2014/main" id="{37B2E5BB-F2F3-3281-A718-033BF00B0E1F}"/>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95" name="Graphic 4">
              <a:extLst>
                <a:ext uri="{FF2B5EF4-FFF2-40B4-BE49-F238E27FC236}">
                  <a16:creationId xmlns:a16="http://schemas.microsoft.com/office/drawing/2014/main" id="{F260CD2F-B498-5CE0-36C5-4512105D2893}"/>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96" name="Graphic 4">
              <a:extLst>
                <a:ext uri="{FF2B5EF4-FFF2-40B4-BE49-F238E27FC236}">
                  <a16:creationId xmlns:a16="http://schemas.microsoft.com/office/drawing/2014/main" id="{E4025150-1DE2-3F4E-D87D-B4A5709622BF}"/>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97" name="Graphic 4">
              <a:extLst>
                <a:ext uri="{FF2B5EF4-FFF2-40B4-BE49-F238E27FC236}">
                  <a16:creationId xmlns:a16="http://schemas.microsoft.com/office/drawing/2014/main" id="{ED8B9282-1EF2-520B-953B-5F9B14B87CD8}"/>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98" name="Graphic 4">
              <a:extLst>
                <a:ext uri="{FF2B5EF4-FFF2-40B4-BE49-F238E27FC236}">
                  <a16:creationId xmlns:a16="http://schemas.microsoft.com/office/drawing/2014/main" id="{E4597CE9-EE7A-F405-A083-B6A51B32CD49}"/>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pic>
        <p:nvPicPr>
          <p:cNvPr id="103" name="Graphic 102" descr="Upward trend with solid fill">
            <a:extLst>
              <a:ext uri="{FF2B5EF4-FFF2-40B4-BE49-F238E27FC236}">
                <a16:creationId xmlns:a16="http://schemas.microsoft.com/office/drawing/2014/main" id="{CDD172EF-795E-322A-0194-253A70E148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9163" y="1831574"/>
            <a:ext cx="324000" cy="324000"/>
          </a:xfrm>
          <a:prstGeom prst="rect">
            <a:avLst/>
          </a:prstGeom>
        </p:spPr>
      </p:pic>
    </p:spTree>
    <p:extLst>
      <p:ext uri="{BB962C8B-B14F-4D97-AF65-F5344CB8AC3E}">
        <p14:creationId xmlns:p14="http://schemas.microsoft.com/office/powerpoint/2010/main" val="267025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5">
            <a:extLst>
              <a:ext uri="{FF2B5EF4-FFF2-40B4-BE49-F238E27FC236}">
                <a16:creationId xmlns:a16="http://schemas.microsoft.com/office/drawing/2014/main" id="{4BC06D49-B932-A6E2-4CC8-99D35AE97793}"/>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Technical Instructions</a:t>
            </a:r>
            <a:endParaRPr lang="en-US" noProof="0"/>
          </a:p>
        </p:txBody>
      </p:sp>
      <p:sp>
        <p:nvSpPr>
          <p:cNvPr id="54" name="Title 2">
            <a:extLst>
              <a:ext uri="{FF2B5EF4-FFF2-40B4-BE49-F238E27FC236}">
                <a16:creationId xmlns:a16="http://schemas.microsoft.com/office/drawing/2014/main" id="{8591533F-8F5B-AE3D-4435-FCD078BB1D5B}"/>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a:t>Deloitte Tech Experience</a:t>
            </a:r>
          </a:p>
        </p:txBody>
      </p:sp>
      <p:sp>
        <p:nvSpPr>
          <p:cNvPr id="3" name="Content Placeholder 4">
            <a:extLst>
              <a:ext uri="{FF2B5EF4-FFF2-40B4-BE49-F238E27FC236}">
                <a16:creationId xmlns:a16="http://schemas.microsoft.com/office/drawing/2014/main" id="{343BB5E4-06AE-7450-4BA1-DA57D17A11DC}"/>
              </a:ext>
            </a:extLst>
          </p:cNvPr>
          <p:cNvSpPr txBox="1">
            <a:spLocks/>
          </p:cNvSpPr>
          <p:nvPr/>
        </p:nvSpPr>
        <p:spPr>
          <a:xfrm>
            <a:off x="1342259" y="1412321"/>
            <a:ext cx="9563865" cy="463391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6705432"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30000"/>
              </a:lnSpc>
              <a:spcAft>
                <a:spcPts val="600"/>
              </a:spcAft>
              <a:buClr>
                <a:schemeClr val="accent1"/>
              </a:buClr>
            </a:pPr>
            <a:r>
              <a:rPr lang="en-US" sz="1100" b="1" dirty="0"/>
              <a:t>You will be given a starter-kit project in which you must base your developments. You will find this available on your Desktop.</a:t>
            </a:r>
          </a:p>
          <a:p>
            <a:pPr marL="182563" indent="-182563">
              <a:lnSpc>
                <a:spcPct val="130000"/>
              </a:lnSpc>
              <a:spcAft>
                <a:spcPts val="600"/>
              </a:spcAft>
              <a:buClr>
                <a:schemeClr val="accent1"/>
              </a:buClr>
              <a:buFont typeface="Verdana" panose="020B0604030504040204" pitchFamily="34" charset="0"/>
              <a:buChar char="»"/>
            </a:pPr>
            <a:r>
              <a:rPr lang="en-US" sz="1100" dirty="0"/>
              <a:t>Open the project in the IDE Visual Studio Code</a:t>
            </a:r>
          </a:p>
          <a:p>
            <a:pPr>
              <a:lnSpc>
                <a:spcPct val="130000"/>
              </a:lnSpc>
              <a:spcAft>
                <a:spcPts val="600"/>
              </a:spcAft>
              <a:buClr>
                <a:schemeClr val="accent1"/>
              </a:buClr>
            </a:pPr>
            <a:endParaRPr lang="en-US" sz="500" dirty="0"/>
          </a:p>
          <a:p>
            <a:pPr marL="182563" indent="-182563">
              <a:lnSpc>
                <a:spcPct val="130000"/>
              </a:lnSpc>
              <a:spcAft>
                <a:spcPts val="600"/>
              </a:spcAft>
              <a:buClr>
                <a:schemeClr val="accent1"/>
              </a:buClr>
              <a:buFont typeface="Verdana" panose="020B0604030504040204" pitchFamily="34" charset="0"/>
              <a:buChar char="»"/>
            </a:pPr>
            <a:r>
              <a:rPr lang="en-US" sz="1100" dirty="0"/>
              <a:t>Set up the environment and install the project dependencies – </a:t>
            </a:r>
            <a:r>
              <a:rPr lang="en-US" sz="1100" b="1" dirty="0"/>
              <a:t>all steps are outlined in the README file</a:t>
            </a:r>
            <a:r>
              <a:rPr lang="en-US" sz="1100" dirty="0"/>
              <a:t>. </a:t>
            </a:r>
          </a:p>
          <a:p>
            <a:pPr marL="182563" indent="-182563">
              <a:lnSpc>
                <a:spcPct val="130000"/>
              </a:lnSpc>
              <a:spcAft>
                <a:spcPts val="600"/>
              </a:spcAft>
              <a:buClr>
                <a:schemeClr val="accent1"/>
              </a:buClr>
              <a:buFont typeface="Verdana" panose="020B0604030504040204" pitchFamily="34" charset="0"/>
              <a:buChar char="»"/>
            </a:pPr>
            <a:endParaRPr lang="en-US" sz="500" dirty="0"/>
          </a:p>
          <a:p>
            <a:pPr marL="182563" indent="-182563">
              <a:lnSpc>
                <a:spcPct val="130000"/>
              </a:lnSpc>
              <a:spcAft>
                <a:spcPts val="600"/>
              </a:spcAft>
              <a:buClr>
                <a:schemeClr val="accent1"/>
              </a:buClr>
              <a:buFont typeface="Verdana" panose="020B0604030504040204" pitchFamily="34" charset="0"/>
              <a:buChar char="»"/>
            </a:pPr>
            <a:r>
              <a:rPr lang="en-US" sz="1100" dirty="0"/>
              <a:t>A Generative AI RAG architecture is composed of the following modules / steps:</a:t>
            </a:r>
          </a:p>
          <a:p>
            <a:pPr marL="182563" indent="-182563">
              <a:lnSpc>
                <a:spcPct val="130000"/>
              </a:lnSpc>
              <a:spcAft>
                <a:spcPts val="600"/>
              </a:spcAft>
              <a:buClr>
                <a:schemeClr val="accent1"/>
              </a:buClr>
              <a:buFont typeface="Verdana" panose="020B0604030504040204" pitchFamily="34" charset="0"/>
              <a:buChar char="»"/>
            </a:pPr>
            <a:endParaRPr lang="en-US" sz="500" dirty="0"/>
          </a:p>
          <a:p>
            <a:pPr marL="417757" lvl="2" indent="-182563">
              <a:lnSpc>
                <a:spcPct val="130000"/>
              </a:lnSpc>
              <a:spcAft>
                <a:spcPts val="600"/>
              </a:spcAft>
              <a:buClr>
                <a:schemeClr val="accent1"/>
              </a:buClr>
              <a:buFont typeface="Verdana" panose="020B0604030504040204" pitchFamily="34" charset="0"/>
              <a:buChar char="»"/>
            </a:pPr>
            <a:r>
              <a:rPr lang="en-US" sz="1100" dirty="0"/>
              <a:t>Data ingestion;</a:t>
            </a:r>
          </a:p>
          <a:p>
            <a:pPr marL="182563" indent="-182563">
              <a:lnSpc>
                <a:spcPct val="130000"/>
              </a:lnSpc>
              <a:spcAft>
                <a:spcPts val="600"/>
              </a:spcAft>
              <a:buClr>
                <a:schemeClr val="accent1"/>
              </a:buClr>
              <a:buFont typeface="Verdana" panose="020B0604030504040204" pitchFamily="34" charset="0"/>
              <a:buChar char="»"/>
            </a:pPr>
            <a:endParaRPr lang="en-US" sz="500" b="0" dirty="0"/>
          </a:p>
          <a:p>
            <a:pPr marL="417757" lvl="2" indent="-182563">
              <a:lnSpc>
                <a:spcPct val="130000"/>
              </a:lnSpc>
              <a:spcAft>
                <a:spcPts val="600"/>
              </a:spcAft>
              <a:buClr>
                <a:schemeClr val="accent1"/>
              </a:buClr>
              <a:buFont typeface="Verdana" panose="020B0604030504040204" pitchFamily="34" charset="0"/>
              <a:buChar char="»"/>
            </a:pPr>
            <a:r>
              <a:rPr lang="en-US" sz="1100" b="0" dirty="0"/>
              <a:t>Chatbot initialization;</a:t>
            </a:r>
          </a:p>
          <a:p>
            <a:pPr marL="182563" indent="-182563">
              <a:lnSpc>
                <a:spcPct val="130000"/>
              </a:lnSpc>
              <a:spcAft>
                <a:spcPts val="600"/>
              </a:spcAft>
              <a:buClr>
                <a:schemeClr val="accent1"/>
              </a:buClr>
              <a:buFont typeface="Verdana" panose="020B0604030504040204" pitchFamily="34" charset="0"/>
              <a:buChar char="»"/>
            </a:pPr>
            <a:endParaRPr lang="en-US" sz="500" dirty="0"/>
          </a:p>
          <a:p>
            <a:pPr marL="417757" lvl="2" indent="-182563">
              <a:lnSpc>
                <a:spcPct val="130000"/>
              </a:lnSpc>
              <a:spcAft>
                <a:spcPts val="600"/>
              </a:spcAft>
              <a:buClr>
                <a:schemeClr val="accent1"/>
              </a:buClr>
              <a:buFont typeface="Verdana" panose="020B0604030504040204" pitchFamily="34" charset="0"/>
              <a:buChar char="»"/>
            </a:pPr>
            <a:r>
              <a:rPr lang="en-US" sz="1100" dirty="0"/>
              <a:t>Retrieve the document to the user query;</a:t>
            </a:r>
          </a:p>
          <a:p>
            <a:pPr marL="182563" indent="-182563">
              <a:lnSpc>
                <a:spcPct val="130000"/>
              </a:lnSpc>
              <a:spcAft>
                <a:spcPts val="600"/>
              </a:spcAft>
              <a:buClr>
                <a:schemeClr val="accent1"/>
              </a:buClr>
              <a:buFont typeface="Verdana" panose="020B0604030504040204" pitchFamily="34" charset="0"/>
              <a:buChar char="»"/>
            </a:pPr>
            <a:endParaRPr lang="en-US" sz="500" dirty="0"/>
          </a:p>
          <a:p>
            <a:pPr marL="417757" lvl="2" indent="-182563">
              <a:lnSpc>
                <a:spcPct val="130000"/>
              </a:lnSpc>
              <a:spcAft>
                <a:spcPts val="600"/>
              </a:spcAft>
              <a:buClr>
                <a:schemeClr val="accent1"/>
              </a:buClr>
              <a:buFont typeface="Verdana" panose="020B0604030504040204" pitchFamily="34" charset="0"/>
              <a:buChar char="»"/>
            </a:pPr>
            <a:r>
              <a:rPr lang="en-US" sz="1100" dirty="0"/>
              <a:t>Insert the retrieved information as context for both LLM and user query;</a:t>
            </a:r>
          </a:p>
          <a:p>
            <a:pPr marL="182563" indent="-182563">
              <a:lnSpc>
                <a:spcPct val="130000"/>
              </a:lnSpc>
              <a:spcAft>
                <a:spcPts val="600"/>
              </a:spcAft>
              <a:buClr>
                <a:schemeClr val="accent1"/>
              </a:buClr>
              <a:buFont typeface="Verdana" panose="020B0604030504040204" pitchFamily="34" charset="0"/>
              <a:buChar char="»"/>
            </a:pPr>
            <a:endParaRPr lang="en-US" sz="500" b="0" dirty="0"/>
          </a:p>
          <a:p>
            <a:pPr marL="417757" lvl="2" indent="-182563">
              <a:lnSpc>
                <a:spcPct val="130000"/>
              </a:lnSpc>
              <a:spcAft>
                <a:spcPts val="600"/>
              </a:spcAft>
              <a:buClr>
                <a:schemeClr val="accent1"/>
              </a:buClr>
              <a:buFont typeface="Verdana" panose="020B0604030504040204" pitchFamily="34" charset="0"/>
              <a:buChar char="»"/>
            </a:pPr>
            <a:r>
              <a:rPr lang="en-US" sz="1100" b="0" dirty="0"/>
              <a:t>Record all user queries and LLM’s answers.</a:t>
            </a:r>
          </a:p>
          <a:p>
            <a:pPr marL="182563" indent="-182563">
              <a:lnSpc>
                <a:spcPct val="130000"/>
              </a:lnSpc>
              <a:spcAft>
                <a:spcPts val="600"/>
              </a:spcAft>
              <a:buClr>
                <a:schemeClr val="accent1"/>
              </a:buClr>
              <a:buFont typeface="Verdana" panose="020B0604030504040204" pitchFamily="34" charset="0"/>
              <a:buChar char="»"/>
            </a:pPr>
            <a:endParaRPr lang="en-US" sz="500" dirty="0"/>
          </a:p>
          <a:p>
            <a:pPr marL="182563" indent="-182563">
              <a:lnSpc>
                <a:spcPct val="130000"/>
              </a:lnSpc>
              <a:spcAft>
                <a:spcPts val="600"/>
              </a:spcAft>
              <a:buClr>
                <a:schemeClr val="accent1"/>
              </a:buClr>
              <a:buFont typeface="Verdana" panose="020B0604030504040204" pitchFamily="34" charset="0"/>
              <a:buChar char="»"/>
            </a:pPr>
            <a:endParaRPr lang="en-US" sz="1100" dirty="0"/>
          </a:p>
          <a:p>
            <a:pPr>
              <a:lnSpc>
                <a:spcPct val="130000"/>
              </a:lnSpc>
              <a:spcAft>
                <a:spcPts val="600"/>
              </a:spcAft>
              <a:buClr>
                <a:schemeClr val="accent1"/>
              </a:buClr>
            </a:pPr>
            <a:endParaRPr lang="en-US" sz="1100" dirty="0"/>
          </a:p>
        </p:txBody>
      </p:sp>
      <p:sp>
        <p:nvSpPr>
          <p:cNvPr id="102" name="Rectangle: Rounded Corners 101">
            <a:extLst>
              <a:ext uri="{FF2B5EF4-FFF2-40B4-BE49-F238E27FC236}">
                <a16:creationId xmlns:a16="http://schemas.microsoft.com/office/drawing/2014/main" id="{46D2525E-362E-4155-2BC0-1C50771FB02F}"/>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1" name="Graphic 1100">
            <a:extLst>
              <a:ext uri="{FF2B5EF4-FFF2-40B4-BE49-F238E27FC236}">
                <a16:creationId xmlns:a16="http://schemas.microsoft.com/office/drawing/2014/main" id="{8C8959A6-CE6E-25B5-B75D-045E5A18B9BF}"/>
              </a:ext>
            </a:extLst>
          </p:cNvPr>
          <p:cNvGrpSpPr>
            <a:grpSpLocks noChangeAspect="1"/>
          </p:cNvGrpSpPr>
          <p:nvPr/>
        </p:nvGrpSpPr>
        <p:grpSpPr>
          <a:xfrm>
            <a:off x="447688" y="5314360"/>
            <a:ext cx="263402" cy="360000"/>
            <a:chOff x="5810369" y="1478218"/>
            <a:chExt cx="159748" cy="218332"/>
          </a:xfrm>
          <a:solidFill>
            <a:schemeClr val="bg1"/>
          </a:solidFill>
        </p:grpSpPr>
        <p:sp>
          <p:nvSpPr>
            <p:cNvPr id="112" name="Graphic 1100">
              <a:extLst>
                <a:ext uri="{FF2B5EF4-FFF2-40B4-BE49-F238E27FC236}">
                  <a16:creationId xmlns:a16="http://schemas.microsoft.com/office/drawing/2014/main" id="{0E923473-6845-F010-22B6-EBFB545E63CA}"/>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13" name="Graphic 1100">
              <a:extLst>
                <a:ext uri="{FF2B5EF4-FFF2-40B4-BE49-F238E27FC236}">
                  <a16:creationId xmlns:a16="http://schemas.microsoft.com/office/drawing/2014/main" id="{708E1149-B680-81C5-F801-B50FC7644540}"/>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14" name="Graphic 1100">
              <a:extLst>
                <a:ext uri="{FF2B5EF4-FFF2-40B4-BE49-F238E27FC236}">
                  <a16:creationId xmlns:a16="http://schemas.microsoft.com/office/drawing/2014/main" id="{761F8D49-A204-F83D-CC0C-9D941207AD03}"/>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15" name="Graphic 1100">
              <a:extLst>
                <a:ext uri="{FF2B5EF4-FFF2-40B4-BE49-F238E27FC236}">
                  <a16:creationId xmlns:a16="http://schemas.microsoft.com/office/drawing/2014/main" id="{46D7DC25-5101-E59B-F12E-08DFC19F7FD1}"/>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121" name="Graphic 4">
            <a:extLst>
              <a:ext uri="{FF2B5EF4-FFF2-40B4-BE49-F238E27FC236}">
                <a16:creationId xmlns:a16="http://schemas.microsoft.com/office/drawing/2014/main" id="{4AAC2C48-5ED9-9C8B-6391-94EB5E3BEBB2}"/>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122" name="Graphic 4">
              <a:extLst>
                <a:ext uri="{FF2B5EF4-FFF2-40B4-BE49-F238E27FC236}">
                  <a16:creationId xmlns:a16="http://schemas.microsoft.com/office/drawing/2014/main" id="{421D8934-0821-F666-A62E-D0F550F86B63}"/>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123" name="Graphic 4">
              <a:extLst>
                <a:ext uri="{FF2B5EF4-FFF2-40B4-BE49-F238E27FC236}">
                  <a16:creationId xmlns:a16="http://schemas.microsoft.com/office/drawing/2014/main" id="{6A8DE679-789D-02F4-0470-0A2201229272}"/>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124" name="Graphic 4">
              <a:extLst>
                <a:ext uri="{FF2B5EF4-FFF2-40B4-BE49-F238E27FC236}">
                  <a16:creationId xmlns:a16="http://schemas.microsoft.com/office/drawing/2014/main" id="{64320F91-F5E6-EE28-E93A-A0E1B66E630C}"/>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125" name="Graphic 4">
              <a:extLst>
                <a:ext uri="{FF2B5EF4-FFF2-40B4-BE49-F238E27FC236}">
                  <a16:creationId xmlns:a16="http://schemas.microsoft.com/office/drawing/2014/main" id="{BA538511-1279-2A4A-2DFB-204F62E90AD1}"/>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126" name="Graphic 4">
              <a:extLst>
                <a:ext uri="{FF2B5EF4-FFF2-40B4-BE49-F238E27FC236}">
                  <a16:creationId xmlns:a16="http://schemas.microsoft.com/office/drawing/2014/main" id="{BE9EB4CE-ACC4-054E-9403-D81E0E6184B1}"/>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127" name="Graphic 4">
              <a:extLst>
                <a:ext uri="{FF2B5EF4-FFF2-40B4-BE49-F238E27FC236}">
                  <a16:creationId xmlns:a16="http://schemas.microsoft.com/office/drawing/2014/main" id="{D5B6C3F3-5DAF-2FA9-9624-937BE244937C}"/>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128" name="Graphic 4">
            <a:extLst>
              <a:ext uri="{FF2B5EF4-FFF2-40B4-BE49-F238E27FC236}">
                <a16:creationId xmlns:a16="http://schemas.microsoft.com/office/drawing/2014/main" id="{931174D0-ED52-9775-69CC-1DFD40D5282A}"/>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pic>
        <p:nvPicPr>
          <p:cNvPr id="129" name="Graphic 128" descr="Upward trend with solid fill">
            <a:extLst>
              <a:ext uri="{FF2B5EF4-FFF2-40B4-BE49-F238E27FC236}">
                <a16:creationId xmlns:a16="http://schemas.microsoft.com/office/drawing/2014/main" id="{B53C15B4-7F96-F05D-32A4-650D3FDB52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8971" y="774249"/>
            <a:ext cx="396000" cy="396000"/>
          </a:xfrm>
          <a:prstGeom prst="rect">
            <a:avLst/>
          </a:prstGeom>
        </p:spPr>
      </p:pic>
      <p:grpSp>
        <p:nvGrpSpPr>
          <p:cNvPr id="130" name="Graphic 4">
            <a:extLst>
              <a:ext uri="{FF2B5EF4-FFF2-40B4-BE49-F238E27FC236}">
                <a16:creationId xmlns:a16="http://schemas.microsoft.com/office/drawing/2014/main" id="{21AD1F83-D161-B6C4-1FCD-84D27F656772}"/>
              </a:ext>
            </a:extLst>
          </p:cNvPr>
          <p:cNvGrpSpPr>
            <a:grpSpLocks noChangeAspect="1"/>
          </p:cNvGrpSpPr>
          <p:nvPr/>
        </p:nvGrpSpPr>
        <p:grpSpPr>
          <a:xfrm>
            <a:off x="421294" y="952548"/>
            <a:ext cx="287999" cy="276915"/>
            <a:chOff x="1573681" y="2918430"/>
            <a:chExt cx="246172" cy="236696"/>
          </a:xfrm>
          <a:solidFill>
            <a:schemeClr val="accent1">
              <a:lumMod val="40000"/>
              <a:lumOff val="60000"/>
            </a:schemeClr>
          </a:solidFill>
        </p:grpSpPr>
        <p:sp>
          <p:nvSpPr>
            <p:cNvPr id="131" name="Graphic 4">
              <a:extLst>
                <a:ext uri="{FF2B5EF4-FFF2-40B4-BE49-F238E27FC236}">
                  <a16:creationId xmlns:a16="http://schemas.microsoft.com/office/drawing/2014/main" id="{BF81A1E9-E58C-A3DD-A148-6FB39BEDD3AC}"/>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132" name="Graphic 4">
              <a:extLst>
                <a:ext uri="{FF2B5EF4-FFF2-40B4-BE49-F238E27FC236}">
                  <a16:creationId xmlns:a16="http://schemas.microsoft.com/office/drawing/2014/main" id="{FC4C6DA3-9D5E-00E3-5632-5753B919E3CB}"/>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133" name="Graphic 4">
              <a:extLst>
                <a:ext uri="{FF2B5EF4-FFF2-40B4-BE49-F238E27FC236}">
                  <a16:creationId xmlns:a16="http://schemas.microsoft.com/office/drawing/2014/main" id="{5FF4E940-347B-CB7E-BAC5-9ADC0F2B0BA7}"/>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134" name="Graphic 4">
              <a:extLst>
                <a:ext uri="{FF2B5EF4-FFF2-40B4-BE49-F238E27FC236}">
                  <a16:creationId xmlns:a16="http://schemas.microsoft.com/office/drawing/2014/main" id="{E4276434-8705-1C5A-59B7-C8582A09BD26}"/>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135" name="Graphic 4">
              <a:extLst>
                <a:ext uri="{FF2B5EF4-FFF2-40B4-BE49-F238E27FC236}">
                  <a16:creationId xmlns:a16="http://schemas.microsoft.com/office/drawing/2014/main" id="{6EA9EC53-D540-B91E-2F29-A4F640C66F48}"/>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136" name="Graphic 4">
              <a:extLst>
                <a:ext uri="{FF2B5EF4-FFF2-40B4-BE49-F238E27FC236}">
                  <a16:creationId xmlns:a16="http://schemas.microsoft.com/office/drawing/2014/main" id="{194D8248-ADDC-C19F-BEA5-8ED8B0544AE2}"/>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pic>
        <p:nvPicPr>
          <p:cNvPr id="137" name="Graphic 136" descr="Upward trend with solid fill">
            <a:extLst>
              <a:ext uri="{FF2B5EF4-FFF2-40B4-BE49-F238E27FC236}">
                <a16:creationId xmlns:a16="http://schemas.microsoft.com/office/drawing/2014/main" id="{C4755463-09FA-8401-1DAC-E83FFA2998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9163" y="1831574"/>
            <a:ext cx="324000" cy="324000"/>
          </a:xfrm>
          <a:prstGeom prst="rect">
            <a:avLst/>
          </a:prstGeom>
        </p:spPr>
      </p:pic>
      <p:grpSp>
        <p:nvGrpSpPr>
          <p:cNvPr id="138" name="Group 137">
            <a:extLst>
              <a:ext uri="{FF2B5EF4-FFF2-40B4-BE49-F238E27FC236}">
                <a16:creationId xmlns:a16="http://schemas.microsoft.com/office/drawing/2014/main" id="{E49B0D8E-F1B2-156A-68A3-FA4168A0BD69}"/>
              </a:ext>
            </a:extLst>
          </p:cNvPr>
          <p:cNvGrpSpPr/>
          <p:nvPr/>
        </p:nvGrpSpPr>
        <p:grpSpPr>
          <a:xfrm>
            <a:off x="374072" y="5154242"/>
            <a:ext cx="812507" cy="683616"/>
            <a:chOff x="-963116" y="5154242"/>
            <a:chExt cx="812507" cy="683616"/>
          </a:xfrm>
        </p:grpSpPr>
        <p:sp>
          <p:nvSpPr>
            <p:cNvPr id="8" name="Rectangle: Rounded Corners 7">
              <a:extLst>
                <a:ext uri="{FF2B5EF4-FFF2-40B4-BE49-F238E27FC236}">
                  <a16:creationId xmlns:a16="http://schemas.microsoft.com/office/drawing/2014/main" id="{7FE511ED-F66F-3648-34B2-4F59DC53576E}"/>
                </a:ext>
              </a:extLst>
            </p:cNvPr>
            <p:cNvSpPr/>
            <p:nvPr/>
          </p:nvSpPr>
          <p:spPr>
            <a:xfrm>
              <a:off x="-963116" y="5154242"/>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0" name="Graphic 1100">
              <a:extLst>
                <a:ext uri="{FF2B5EF4-FFF2-40B4-BE49-F238E27FC236}">
                  <a16:creationId xmlns:a16="http://schemas.microsoft.com/office/drawing/2014/main" id="{D5512BB0-7CF5-065D-FDD6-B6C3DA6E6858}"/>
                </a:ext>
              </a:extLst>
            </p:cNvPr>
            <p:cNvGrpSpPr>
              <a:grpSpLocks noChangeAspect="1"/>
            </p:cNvGrpSpPr>
            <p:nvPr/>
          </p:nvGrpSpPr>
          <p:grpSpPr>
            <a:xfrm>
              <a:off x="-889500" y="5314360"/>
              <a:ext cx="263402" cy="360000"/>
              <a:chOff x="5810369" y="1478218"/>
              <a:chExt cx="159748" cy="218332"/>
            </a:xfrm>
            <a:solidFill>
              <a:schemeClr val="bg1"/>
            </a:solidFill>
          </p:grpSpPr>
          <p:sp>
            <p:nvSpPr>
              <p:cNvPr id="71" name="Graphic 1100">
                <a:extLst>
                  <a:ext uri="{FF2B5EF4-FFF2-40B4-BE49-F238E27FC236}">
                    <a16:creationId xmlns:a16="http://schemas.microsoft.com/office/drawing/2014/main" id="{E3813A97-82D1-30B0-338D-33F9AC0825E2}"/>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72" name="Graphic 1100">
                <a:extLst>
                  <a:ext uri="{FF2B5EF4-FFF2-40B4-BE49-F238E27FC236}">
                    <a16:creationId xmlns:a16="http://schemas.microsoft.com/office/drawing/2014/main" id="{B686E198-36AC-8390-3D2A-5DBAC4C4D0CB}"/>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73" name="Graphic 1100">
                <a:extLst>
                  <a:ext uri="{FF2B5EF4-FFF2-40B4-BE49-F238E27FC236}">
                    <a16:creationId xmlns:a16="http://schemas.microsoft.com/office/drawing/2014/main" id="{CF777B4C-295D-B40A-51C6-6BD53A956507}"/>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74" name="Graphic 1100">
                <a:extLst>
                  <a:ext uri="{FF2B5EF4-FFF2-40B4-BE49-F238E27FC236}">
                    <a16:creationId xmlns:a16="http://schemas.microsoft.com/office/drawing/2014/main" id="{825F410B-D7FA-A0E4-14CA-A975DBC185DC}"/>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grpSp>
        <p:nvGrpSpPr>
          <p:cNvPr id="139" name="Graphic 4">
            <a:extLst>
              <a:ext uri="{FF2B5EF4-FFF2-40B4-BE49-F238E27FC236}">
                <a16:creationId xmlns:a16="http://schemas.microsoft.com/office/drawing/2014/main" id="{DCDC45AD-5151-74B8-D8C4-ABDDD0E6613D}"/>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140" name="Graphic 4">
              <a:extLst>
                <a:ext uri="{FF2B5EF4-FFF2-40B4-BE49-F238E27FC236}">
                  <a16:creationId xmlns:a16="http://schemas.microsoft.com/office/drawing/2014/main" id="{1419E11D-C71F-B662-30AD-735FD40234E4}"/>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141" name="Graphic 4">
              <a:extLst>
                <a:ext uri="{FF2B5EF4-FFF2-40B4-BE49-F238E27FC236}">
                  <a16:creationId xmlns:a16="http://schemas.microsoft.com/office/drawing/2014/main" id="{A2DD5369-E56C-305F-24AC-AF1A0A36342C}"/>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142" name="Graphic 4">
              <a:extLst>
                <a:ext uri="{FF2B5EF4-FFF2-40B4-BE49-F238E27FC236}">
                  <a16:creationId xmlns:a16="http://schemas.microsoft.com/office/drawing/2014/main" id="{23DFCC43-322C-EAB5-A81F-1202111AC2C0}"/>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43" name="Graphic 4">
              <a:extLst>
                <a:ext uri="{FF2B5EF4-FFF2-40B4-BE49-F238E27FC236}">
                  <a16:creationId xmlns:a16="http://schemas.microsoft.com/office/drawing/2014/main" id="{DBCA4822-CC27-FD3F-44AD-BC8C34CC3337}"/>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44" name="Graphic 4">
              <a:extLst>
                <a:ext uri="{FF2B5EF4-FFF2-40B4-BE49-F238E27FC236}">
                  <a16:creationId xmlns:a16="http://schemas.microsoft.com/office/drawing/2014/main" id="{050608CE-D4AE-1632-14A0-C13C9DCA1D67}"/>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sp>
        <p:nvSpPr>
          <p:cNvPr id="2" name="Rectangle: Rounded Corners 1">
            <a:extLst>
              <a:ext uri="{FF2B5EF4-FFF2-40B4-BE49-F238E27FC236}">
                <a16:creationId xmlns:a16="http://schemas.microsoft.com/office/drawing/2014/main" id="{8AB932CB-8EFD-4770-29E0-19DAD1AD351F}"/>
              </a:ext>
            </a:extLst>
          </p:cNvPr>
          <p:cNvSpPr/>
          <p:nvPr/>
        </p:nvSpPr>
        <p:spPr>
          <a:xfrm>
            <a:off x="1369995" y="5837858"/>
            <a:ext cx="9702393" cy="405357"/>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Hint</a:t>
            </a:r>
            <a:r>
              <a:rPr lang="en-US" sz="1200"/>
              <a:t>: use the internet to search and understand more about RAG architecture chatbots</a:t>
            </a:r>
            <a:endParaRPr lang="en-US" sz="1400"/>
          </a:p>
        </p:txBody>
      </p:sp>
    </p:spTree>
    <p:extLst>
      <p:ext uri="{BB962C8B-B14F-4D97-AF65-F5344CB8AC3E}">
        <p14:creationId xmlns:p14="http://schemas.microsoft.com/office/powerpoint/2010/main" val="4023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475200" y="5530390"/>
            <a:ext cx="5592012" cy="324000"/>
          </a:xfrm>
        </p:spPr>
        <p:txBody>
          <a:bodyPr/>
          <a:lstStyle/>
          <a:p>
            <a:r>
              <a:rPr lang="en-US" noProof="0"/>
              <a:t>Headline Verdana Bold</a:t>
            </a:r>
          </a:p>
        </p:txBody>
      </p:sp>
      <p:grpSp>
        <p:nvGrpSpPr>
          <p:cNvPr id="10" name="Group 9"/>
          <p:cNvGrpSpPr>
            <a:grpSpLocks noChangeAspect="1"/>
          </p:cNvGrpSpPr>
          <p:nvPr/>
        </p:nvGrpSpPr>
        <p:grpSpPr>
          <a:xfrm>
            <a:off x="469900" y="457761"/>
            <a:ext cx="1998000" cy="374400"/>
            <a:chOff x="398463" y="404813"/>
            <a:chExt cx="1627187" cy="307976"/>
          </a:xfrm>
          <a:solidFill>
            <a:schemeClr val="tx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
        <p:nvSpPr>
          <p:cNvPr id="21" name="Subtitle 3"/>
          <p:cNvSpPr txBox="1">
            <a:spLocks/>
          </p:cNvSpPr>
          <p:nvPr/>
        </p:nvSpPr>
        <p:spPr bwMode="gray">
          <a:xfrm>
            <a:off x="6130089" y="5845180"/>
            <a:ext cx="5592011" cy="505645"/>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algn="r"/>
            <a:r>
              <a:rPr lang="en-US" b="0">
                <a:solidFill>
                  <a:prstClr val="white"/>
                </a:solidFill>
                <a:latin typeface="Open Sans bold" panose="020B0806030504020204" pitchFamily="34" charset="0"/>
                <a:ea typeface="Open Sans bold" panose="020B0806030504020204" pitchFamily="34" charset="0"/>
                <a:cs typeface="Open Sans bold" panose="020B0806030504020204" pitchFamily="34" charset="0"/>
              </a:rPr>
              <a:t>What impact will you make?</a:t>
            </a:r>
          </a:p>
          <a:p>
            <a:pPr algn="r"/>
            <a:r>
              <a:rPr lang="en-US">
                <a:solidFill>
                  <a:srgbClr val="86BC25"/>
                </a:solidFill>
              </a:rPr>
              <a:t>www.deloitte.com/pt/careers</a:t>
            </a:r>
          </a:p>
        </p:txBody>
      </p:sp>
      <p:sp>
        <p:nvSpPr>
          <p:cNvPr id="25" name="Subtitle 3"/>
          <p:cNvSpPr>
            <a:spLocks noGrp="1"/>
          </p:cNvSpPr>
          <p:nvPr>
            <p:ph type="subTitle" idx="1"/>
          </p:nvPr>
        </p:nvSpPr>
        <p:spPr>
          <a:xfrm>
            <a:off x="475200" y="5845180"/>
            <a:ext cx="5592011" cy="505645"/>
          </a:xfrm>
        </p:spPr>
        <p:txBody>
          <a:bodyPr/>
          <a:lstStyle/>
          <a:p>
            <a:r>
              <a:rPr lang="en-US">
                <a:latin typeface="+mj-lt"/>
                <a:ea typeface="Open Sans bold" panose="020B0806030504020204" pitchFamily="34" charset="0"/>
                <a:cs typeface="Open Sans bold" panose="020B0806030504020204" pitchFamily="34" charset="0"/>
              </a:rPr>
              <a:t>Say hello world</a:t>
            </a:r>
          </a:p>
          <a:p>
            <a:pPr lvl="0"/>
            <a:r>
              <a:rPr lang="en-GB" b="0">
                <a:solidFill>
                  <a:prstClr val="white"/>
                </a:solidFill>
                <a:latin typeface="Verdana"/>
                <a:ea typeface="+mn-ea"/>
                <a:cs typeface="+mn-cs"/>
              </a:rPr>
              <a:t>Deloitte Tech Experience – </a:t>
            </a:r>
            <a:r>
              <a:rPr lang="en-US" b="0">
                <a:solidFill>
                  <a:prstClr val="white"/>
                </a:solidFill>
                <a:latin typeface="Verdana"/>
                <a:ea typeface="+mn-ea"/>
                <a:cs typeface="+mn-cs"/>
              </a:rPr>
              <a:t>Tech Challenge</a:t>
            </a:r>
          </a:p>
        </p:txBody>
      </p:sp>
      <p:pic>
        <p:nvPicPr>
          <p:cNvPr id="23" name="Picture 22">
            <a:extLst>
              <a:ext uri="{FF2B5EF4-FFF2-40B4-BE49-F238E27FC236}">
                <a16:creationId xmlns:a16="http://schemas.microsoft.com/office/drawing/2014/main" id="{C2E18686-310A-4941-90F2-1F2883F00D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83112" y="1110536"/>
            <a:ext cx="4425776" cy="4425776"/>
          </a:xfrm>
          <a:prstGeom prst="rect">
            <a:avLst/>
          </a:prstGeom>
        </p:spPr>
      </p:pic>
    </p:spTree>
    <p:extLst>
      <p:ext uri="{BB962C8B-B14F-4D97-AF65-F5344CB8AC3E}">
        <p14:creationId xmlns:p14="http://schemas.microsoft.com/office/powerpoint/2010/main" val="186734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Placeholder 10">
            <a:extLst>
              <a:ext uri="{FF2B5EF4-FFF2-40B4-BE49-F238E27FC236}">
                <a16:creationId xmlns:a16="http://schemas.microsoft.com/office/drawing/2014/main" id="{68FCA974-8207-6739-83F0-61A8E80526CC}"/>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tretch>
            <a:fillRect/>
          </a:stretch>
        </p:blipFill>
        <p:spPr>
          <a:xfrm>
            <a:off x="1832315" y="0"/>
            <a:ext cx="10359686" cy="6858000"/>
          </a:xfrm>
        </p:spPr>
      </p:pic>
      <p:sp>
        <p:nvSpPr>
          <p:cNvPr id="12" name="Rectangle 11">
            <a:extLst>
              <a:ext uri="{FF2B5EF4-FFF2-40B4-BE49-F238E27FC236}">
                <a16:creationId xmlns:a16="http://schemas.microsoft.com/office/drawing/2014/main" id="{71F83625-367F-E997-684F-39FD530FC384}"/>
              </a:ext>
            </a:extLst>
          </p:cNvPr>
          <p:cNvSpPr/>
          <p:nvPr/>
        </p:nvSpPr>
        <p:spPr>
          <a:xfrm>
            <a:off x="0" y="-4470"/>
            <a:ext cx="12192000" cy="6858000"/>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13" name="Freeform 26">
            <a:extLst>
              <a:ext uri="{FF2B5EF4-FFF2-40B4-BE49-F238E27FC236}">
                <a16:creationId xmlns:a16="http://schemas.microsoft.com/office/drawing/2014/main" id="{8EF40834-8FFF-2268-4B32-32FB07844BA0}"/>
              </a:ext>
            </a:extLst>
          </p:cNvPr>
          <p:cNvSpPr/>
          <p:nvPr/>
        </p:nvSpPr>
        <p:spPr>
          <a:xfrm>
            <a:off x="0" y="8237"/>
            <a:ext cx="7702826" cy="6858001"/>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15" name="TextBox 14">
            <a:extLst>
              <a:ext uri="{FF2B5EF4-FFF2-40B4-BE49-F238E27FC236}">
                <a16:creationId xmlns:a16="http://schemas.microsoft.com/office/drawing/2014/main" id="{5A080C1E-CE19-2066-468B-96BF6CD07B24}"/>
              </a:ext>
            </a:extLst>
          </p:cNvPr>
          <p:cNvSpPr txBox="1"/>
          <p:nvPr/>
        </p:nvSpPr>
        <p:spPr>
          <a:xfrm>
            <a:off x="1213571" y="1564731"/>
            <a:ext cx="5506994" cy="470714"/>
          </a:xfrm>
          <a:prstGeom prst="rect">
            <a:avLst/>
          </a:prstGeom>
          <a:noFill/>
          <a:ln>
            <a:noFill/>
          </a:ln>
        </p:spPr>
        <p:txBody>
          <a:bodyPr wrap="square" lIns="108000" tIns="0" rIns="0" bIns="0" rtlCol="0" anchor="ctr">
            <a:noAutofit/>
          </a:bodyPr>
          <a:lstStyle>
            <a:defPPr>
              <a:defRPr lang="pt-PT"/>
            </a:defPPr>
            <a:lvl1pPr marR="0" indent="0" fontAlgn="auto">
              <a:lnSpc>
                <a:spcPct val="100000"/>
              </a:lnSpc>
              <a:spcBef>
                <a:spcPts val="200"/>
              </a:spcBef>
              <a:spcAft>
                <a:spcPts val="200"/>
              </a:spcAft>
              <a:buClrTx/>
              <a:buSzTx/>
              <a:buFontTx/>
              <a:buNone/>
              <a:tabLst/>
              <a:defRPr sz="2000" cap="small">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1600" cap="none" dirty="0">
                <a:solidFill>
                  <a:srgbClr val="ADADAD"/>
                </a:solidFill>
              </a:rPr>
              <a:t>Generative AI &amp; Retrieval-augmented Generation</a:t>
            </a:r>
          </a:p>
        </p:txBody>
      </p:sp>
      <p:sp>
        <p:nvSpPr>
          <p:cNvPr id="16" name="TextBox 15">
            <a:extLst>
              <a:ext uri="{FF2B5EF4-FFF2-40B4-BE49-F238E27FC236}">
                <a16:creationId xmlns:a16="http://schemas.microsoft.com/office/drawing/2014/main" id="{84752582-3329-2B18-F560-36FC42CA7DCB}"/>
              </a:ext>
            </a:extLst>
          </p:cNvPr>
          <p:cNvSpPr txBox="1"/>
          <p:nvPr/>
        </p:nvSpPr>
        <p:spPr>
          <a:xfrm>
            <a:off x="1213571" y="2286039"/>
            <a:ext cx="5506994" cy="470714"/>
          </a:xfrm>
          <a:prstGeom prst="rect">
            <a:avLst/>
          </a:prstGeom>
          <a:noFill/>
        </p:spPr>
        <p:txBody>
          <a:bodyPr wrap="none" rtlCol="0" anchor="ctr">
            <a:noAutofit/>
          </a:bodyPr>
          <a:lstStyle/>
          <a:p>
            <a:pPr marR="0" indent="0" fontAlgn="auto">
              <a:lnSpc>
                <a:spcPct val="100000"/>
              </a:lnSpc>
              <a:spcBef>
                <a:spcPts val="200"/>
              </a:spcBef>
              <a:spcAft>
                <a:spcPts val="200"/>
              </a:spcAft>
              <a:buClrTx/>
              <a:buSzTx/>
              <a:buFontTx/>
              <a:buNone/>
              <a:tabLst/>
              <a:defRPr/>
            </a:pPr>
            <a:r>
              <a:rPr lang="en-GB" sz="1600">
                <a:solidFill>
                  <a:srgbClr val="ADADAD"/>
                </a:solidFill>
                <a:latin typeface="Open Sans" panose="020B0606030504020204" pitchFamily="34" charset="0"/>
                <a:ea typeface="Open Sans" panose="020B0606030504020204" pitchFamily="34" charset="0"/>
                <a:cs typeface="Open Sans" panose="020B0606030504020204" pitchFamily="34" charset="0"/>
              </a:rPr>
              <a:t>Use Case Description</a:t>
            </a:r>
          </a:p>
        </p:txBody>
      </p:sp>
      <p:sp>
        <p:nvSpPr>
          <p:cNvPr id="19" name="TextBox 18">
            <a:extLst>
              <a:ext uri="{FF2B5EF4-FFF2-40B4-BE49-F238E27FC236}">
                <a16:creationId xmlns:a16="http://schemas.microsoft.com/office/drawing/2014/main" id="{EB475062-23D6-DDE0-83C5-44BD4F473D7E}"/>
              </a:ext>
            </a:extLst>
          </p:cNvPr>
          <p:cNvSpPr txBox="1"/>
          <p:nvPr/>
        </p:nvSpPr>
        <p:spPr>
          <a:xfrm>
            <a:off x="1189983" y="2974918"/>
            <a:ext cx="5013493" cy="470714"/>
          </a:xfrm>
          <a:prstGeom prst="rect">
            <a:avLst/>
          </a:prstGeom>
          <a:noFill/>
        </p:spPr>
        <p:txBody>
          <a:bodyPr wrap="none" rtlCol="0" anchor="ctr">
            <a:noAutofit/>
          </a:bodyPr>
          <a:lstStyle/>
          <a:p>
            <a:pPr marR="0" indent="0" fontAlgn="auto">
              <a:lnSpc>
                <a:spcPct val="100000"/>
              </a:lnSpc>
              <a:spcBef>
                <a:spcPts val="200"/>
              </a:spcBef>
              <a:spcAft>
                <a:spcPts val="200"/>
              </a:spcAft>
              <a:buClrTx/>
              <a:buSzTx/>
              <a:buFontTx/>
              <a:buNone/>
              <a:tabLst/>
              <a:defRPr/>
            </a:pPr>
            <a:r>
              <a:rPr lang="en-GB" sz="1600">
                <a:solidFill>
                  <a:srgbClr val="ADADAD"/>
                </a:solidFill>
                <a:latin typeface="Open Sans" panose="020B0606030504020204" pitchFamily="34" charset="0"/>
                <a:ea typeface="Open Sans" panose="020B0606030504020204" pitchFamily="34" charset="0"/>
                <a:cs typeface="Open Sans" panose="020B0606030504020204" pitchFamily="34" charset="0"/>
              </a:rPr>
              <a:t>Challenge</a:t>
            </a:r>
          </a:p>
        </p:txBody>
      </p:sp>
      <p:sp>
        <p:nvSpPr>
          <p:cNvPr id="47" name="Title 2">
            <a:extLst>
              <a:ext uri="{FF2B5EF4-FFF2-40B4-BE49-F238E27FC236}">
                <a16:creationId xmlns:a16="http://schemas.microsoft.com/office/drawing/2014/main" id="{47393142-6ACF-D7B8-ED61-1CC1B3319A87}"/>
              </a:ext>
            </a:extLst>
          </p:cNvPr>
          <p:cNvSpPr>
            <a:spLocks noGrp="1"/>
          </p:cNvSpPr>
          <p:nvPr>
            <p:ph type="title"/>
          </p:nvPr>
        </p:nvSpPr>
        <p:spPr>
          <a:xfrm>
            <a:off x="469900" y="402587"/>
            <a:ext cx="11252200" cy="334102"/>
          </a:xfrm>
        </p:spPr>
        <p:txBody>
          <a:bodyPr/>
          <a:lstStyle/>
          <a:p>
            <a:r>
              <a:rPr lang="en-US" noProof="0"/>
              <a:t>Contents</a:t>
            </a:r>
          </a:p>
        </p:txBody>
      </p:sp>
      <p:grpSp>
        <p:nvGrpSpPr>
          <p:cNvPr id="3" name="Graphic 4">
            <a:extLst>
              <a:ext uri="{FF2B5EF4-FFF2-40B4-BE49-F238E27FC236}">
                <a16:creationId xmlns:a16="http://schemas.microsoft.com/office/drawing/2014/main" id="{2B927316-7E67-9D7B-F28C-29E06DB0CD34}"/>
              </a:ext>
            </a:extLst>
          </p:cNvPr>
          <p:cNvGrpSpPr>
            <a:grpSpLocks noChangeAspect="1"/>
          </p:cNvGrpSpPr>
          <p:nvPr/>
        </p:nvGrpSpPr>
        <p:grpSpPr>
          <a:xfrm>
            <a:off x="541757" y="1661631"/>
            <a:ext cx="288000" cy="276914"/>
            <a:chOff x="1573681" y="2918430"/>
            <a:chExt cx="246172" cy="236696"/>
          </a:xfrm>
          <a:solidFill>
            <a:schemeClr val="accent1">
              <a:lumMod val="40000"/>
              <a:lumOff val="60000"/>
            </a:schemeClr>
          </a:solidFill>
        </p:grpSpPr>
        <p:sp>
          <p:nvSpPr>
            <p:cNvPr id="4" name="Graphic 4">
              <a:extLst>
                <a:ext uri="{FF2B5EF4-FFF2-40B4-BE49-F238E27FC236}">
                  <a16:creationId xmlns:a16="http://schemas.microsoft.com/office/drawing/2014/main" id="{DA95036D-213A-9FBD-9CE5-70A8802ADF82}"/>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5" name="Graphic 4">
              <a:extLst>
                <a:ext uri="{FF2B5EF4-FFF2-40B4-BE49-F238E27FC236}">
                  <a16:creationId xmlns:a16="http://schemas.microsoft.com/office/drawing/2014/main" id="{C9F16833-74EC-75B2-AA49-8A36E58C7DB0}"/>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6" name="Graphic 4">
              <a:extLst>
                <a:ext uri="{FF2B5EF4-FFF2-40B4-BE49-F238E27FC236}">
                  <a16:creationId xmlns:a16="http://schemas.microsoft.com/office/drawing/2014/main" id="{B030E2DE-3DD4-D768-6DE9-2DDA2C28FD69}"/>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E67E9F31-90A2-1B75-E02D-14A2BDE4A8E1}"/>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553DE378-76AD-BA90-8059-C9422E5CB750}"/>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382BEB94-507F-6933-1B36-989605FDC5D0}"/>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sp>
        <p:nvSpPr>
          <p:cNvPr id="59" name="TextBox 58">
            <a:extLst>
              <a:ext uri="{FF2B5EF4-FFF2-40B4-BE49-F238E27FC236}">
                <a16:creationId xmlns:a16="http://schemas.microsoft.com/office/drawing/2014/main" id="{A8EF765D-4E45-ACA9-3B0A-E4C4B30E226F}"/>
              </a:ext>
            </a:extLst>
          </p:cNvPr>
          <p:cNvSpPr txBox="1"/>
          <p:nvPr/>
        </p:nvSpPr>
        <p:spPr>
          <a:xfrm>
            <a:off x="1213571" y="5039381"/>
            <a:ext cx="5506994" cy="470714"/>
          </a:xfrm>
          <a:prstGeom prst="rect">
            <a:avLst/>
          </a:prstGeom>
          <a:noFill/>
        </p:spPr>
        <p:txBody>
          <a:bodyPr wrap="none" rtlCol="0" anchor="ctr">
            <a:noAutofit/>
          </a:bodyPr>
          <a:lstStyle/>
          <a:p>
            <a:pPr marR="0" indent="0" fontAlgn="auto">
              <a:lnSpc>
                <a:spcPct val="100000"/>
              </a:lnSpc>
              <a:spcBef>
                <a:spcPts val="200"/>
              </a:spcBef>
              <a:spcAft>
                <a:spcPts val="200"/>
              </a:spcAft>
              <a:buClrTx/>
              <a:buSzTx/>
              <a:buFontTx/>
              <a:buNone/>
              <a:tabLst/>
              <a:defRPr/>
            </a:pPr>
            <a:r>
              <a:rPr lang="en-GB" sz="1600">
                <a:solidFill>
                  <a:srgbClr val="ADADAD"/>
                </a:solidFill>
                <a:latin typeface="Open Sans" panose="020B0606030504020204" pitchFamily="34" charset="0"/>
                <a:ea typeface="Open Sans" panose="020B0606030504020204" pitchFamily="34" charset="0"/>
                <a:cs typeface="Open Sans" panose="020B0606030504020204" pitchFamily="34" charset="0"/>
              </a:rPr>
              <a:t>Technical Instructions</a:t>
            </a:r>
          </a:p>
        </p:txBody>
      </p:sp>
      <p:grpSp>
        <p:nvGrpSpPr>
          <p:cNvPr id="21" name="Graphic 1100">
            <a:extLst>
              <a:ext uri="{FF2B5EF4-FFF2-40B4-BE49-F238E27FC236}">
                <a16:creationId xmlns:a16="http://schemas.microsoft.com/office/drawing/2014/main" id="{3DB7F7BE-B02C-0F67-A4EE-91E900FFB644}"/>
              </a:ext>
            </a:extLst>
          </p:cNvPr>
          <p:cNvGrpSpPr>
            <a:grpSpLocks noChangeAspect="1"/>
          </p:cNvGrpSpPr>
          <p:nvPr/>
        </p:nvGrpSpPr>
        <p:grpSpPr>
          <a:xfrm>
            <a:off x="605925" y="5088934"/>
            <a:ext cx="263402" cy="360000"/>
            <a:chOff x="5810369" y="1478218"/>
            <a:chExt cx="159748" cy="218332"/>
          </a:xfrm>
          <a:solidFill>
            <a:schemeClr val="bg1"/>
          </a:solidFill>
        </p:grpSpPr>
        <p:sp>
          <p:nvSpPr>
            <p:cNvPr id="22" name="Graphic 1100">
              <a:extLst>
                <a:ext uri="{FF2B5EF4-FFF2-40B4-BE49-F238E27FC236}">
                  <a16:creationId xmlns:a16="http://schemas.microsoft.com/office/drawing/2014/main" id="{3C98DE1D-E355-B13D-B115-E85BD59C6846}"/>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23" name="Graphic 1100">
              <a:extLst>
                <a:ext uri="{FF2B5EF4-FFF2-40B4-BE49-F238E27FC236}">
                  <a16:creationId xmlns:a16="http://schemas.microsoft.com/office/drawing/2014/main" id="{78E1B084-2EF9-C4DE-F363-566AA488D2D1}"/>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4" name="Graphic 1100">
              <a:extLst>
                <a:ext uri="{FF2B5EF4-FFF2-40B4-BE49-F238E27FC236}">
                  <a16:creationId xmlns:a16="http://schemas.microsoft.com/office/drawing/2014/main" id="{36022839-062F-43A9-143E-15881DDBD19B}"/>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5" name="Graphic 1100">
              <a:extLst>
                <a:ext uri="{FF2B5EF4-FFF2-40B4-BE49-F238E27FC236}">
                  <a16:creationId xmlns:a16="http://schemas.microsoft.com/office/drawing/2014/main" id="{1288C65C-8F89-2E03-C876-CC720F268D6A}"/>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33" name="Graphic 1100">
            <a:extLst>
              <a:ext uri="{FF2B5EF4-FFF2-40B4-BE49-F238E27FC236}">
                <a16:creationId xmlns:a16="http://schemas.microsoft.com/office/drawing/2014/main" id="{68F4CAE2-6792-7908-55B3-43AC91EE5929}"/>
              </a:ext>
            </a:extLst>
          </p:cNvPr>
          <p:cNvGrpSpPr>
            <a:grpSpLocks noChangeAspect="1"/>
          </p:cNvGrpSpPr>
          <p:nvPr/>
        </p:nvGrpSpPr>
        <p:grpSpPr>
          <a:xfrm>
            <a:off x="626396" y="5128625"/>
            <a:ext cx="210722" cy="288000"/>
            <a:chOff x="5810369" y="1478218"/>
            <a:chExt cx="159748" cy="218332"/>
          </a:xfrm>
          <a:solidFill>
            <a:schemeClr val="accent1">
              <a:lumMod val="40000"/>
              <a:lumOff val="60000"/>
            </a:schemeClr>
          </a:solidFill>
        </p:grpSpPr>
        <p:sp>
          <p:nvSpPr>
            <p:cNvPr id="34" name="Graphic 1100">
              <a:extLst>
                <a:ext uri="{FF2B5EF4-FFF2-40B4-BE49-F238E27FC236}">
                  <a16:creationId xmlns:a16="http://schemas.microsoft.com/office/drawing/2014/main" id="{4751BF8D-26B4-FF83-6FBB-0802A066DE94}"/>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35" name="Graphic 1100">
              <a:extLst>
                <a:ext uri="{FF2B5EF4-FFF2-40B4-BE49-F238E27FC236}">
                  <a16:creationId xmlns:a16="http://schemas.microsoft.com/office/drawing/2014/main" id="{DFE1C477-385F-61A4-5E9D-3FCB219D1C18}"/>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36" name="Graphic 1100">
              <a:extLst>
                <a:ext uri="{FF2B5EF4-FFF2-40B4-BE49-F238E27FC236}">
                  <a16:creationId xmlns:a16="http://schemas.microsoft.com/office/drawing/2014/main" id="{214F11F9-7828-ED36-257B-9E24E59B8F06}"/>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37" name="Graphic 1100">
              <a:extLst>
                <a:ext uri="{FF2B5EF4-FFF2-40B4-BE49-F238E27FC236}">
                  <a16:creationId xmlns:a16="http://schemas.microsoft.com/office/drawing/2014/main" id="{50FBE4D2-EB73-3E00-3178-1F41422FFC32}"/>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sp>
        <p:nvSpPr>
          <p:cNvPr id="38" name="Graphic 4">
            <a:extLst>
              <a:ext uri="{FF2B5EF4-FFF2-40B4-BE49-F238E27FC236}">
                <a16:creationId xmlns:a16="http://schemas.microsoft.com/office/drawing/2014/main" id="{7B4DB381-8C6C-458C-CC51-842A3697BFF5}"/>
              </a:ext>
            </a:extLst>
          </p:cNvPr>
          <p:cNvSpPr>
            <a:spLocks noChangeAspect="1"/>
          </p:cNvSpPr>
          <p:nvPr/>
        </p:nvSpPr>
        <p:spPr>
          <a:xfrm>
            <a:off x="570111" y="3067935"/>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pic>
        <p:nvPicPr>
          <p:cNvPr id="73" name="Graphic 72" descr="Upward trend with solid fill">
            <a:extLst>
              <a:ext uri="{FF2B5EF4-FFF2-40B4-BE49-F238E27FC236}">
                <a16:creationId xmlns:a16="http://schemas.microsoft.com/office/drawing/2014/main" id="{6B9B5FDA-648C-D941-9624-AF21EFABB3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7400" y="2352166"/>
            <a:ext cx="324000" cy="324000"/>
          </a:xfrm>
          <a:prstGeom prst="rect">
            <a:avLst/>
          </a:prstGeom>
        </p:spPr>
      </p:pic>
      <p:sp>
        <p:nvSpPr>
          <p:cNvPr id="2" name="TextBox 1">
            <a:extLst>
              <a:ext uri="{FF2B5EF4-FFF2-40B4-BE49-F238E27FC236}">
                <a16:creationId xmlns:a16="http://schemas.microsoft.com/office/drawing/2014/main" id="{BDA60A5D-52A5-12F8-5174-A68292413995}"/>
              </a:ext>
            </a:extLst>
          </p:cNvPr>
          <p:cNvSpPr txBox="1"/>
          <p:nvPr/>
        </p:nvSpPr>
        <p:spPr>
          <a:xfrm>
            <a:off x="1213571" y="3666109"/>
            <a:ext cx="5506994" cy="470714"/>
          </a:xfrm>
          <a:prstGeom prst="rect">
            <a:avLst/>
          </a:prstGeom>
          <a:noFill/>
        </p:spPr>
        <p:txBody>
          <a:bodyPr wrap="none" rtlCol="0" anchor="ctr">
            <a:noAutofit/>
          </a:bodyPr>
          <a:lstStyle/>
          <a:p>
            <a:pPr marR="0" indent="0" fontAlgn="auto">
              <a:lnSpc>
                <a:spcPct val="100000"/>
              </a:lnSpc>
              <a:spcBef>
                <a:spcPts val="200"/>
              </a:spcBef>
              <a:spcAft>
                <a:spcPts val="200"/>
              </a:spcAft>
              <a:buClrTx/>
              <a:buSzTx/>
              <a:buFontTx/>
              <a:buNone/>
              <a:tabLst/>
              <a:defRPr/>
            </a:pPr>
            <a:r>
              <a:rPr lang="en-GB" sz="1600">
                <a:solidFill>
                  <a:srgbClr val="ADADAD"/>
                </a:solidFill>
                <a:latin typeface="Open Sans" panose="020B0606030504020204" pitchFamily="34" charset="0"/>
                <a:ea typeface="Open Sans" panose="020B0606030504020204" pitchFamily="34" charset="0"/>
                <a:cs typeface="Open Sans" panose="020B0606030504020204" pitchFamily="34" charset="0"/>
              </a:rPr>
              <a:t>Challenge Rules</a:t>
            </a:r>
          </a:p>
        </p:txBody>
      </p:sp>
      <p:sp>
        <p:nvSpPr>
          <p:cNvPr id="10" name="TextBox 9">
            <a:extLst>
              <a:ext uri="{FF2B5EF4-FFF2-40B4-BE49-F238E27FC236}">
                <a16:creationId xmlns:a16="http://schemas.microsoft.com/office/drawing/2014/main" id="{2C3D4B06-E708-9D4A-2318-FECE8A2B6046}"/>
              </a:ext>
            </a:extLst>
          </p:cNvPr>
          <p:cNvSpPr txBox="1"/>
          <p:nvPr/>
        </p:nvSpPr>
        <p:spPr>
          <a:xfrm>
            <a:off x="1213571" y="4357921"/>
            <a:ext cx="5506994" cy="470714"/>
          </a:xfrm>
          <a:prstGeom prst="rect">
            <a:avLst/>
          </a:prstGeom>
          <a:noFill/>
        </p:spPr>
        <p:txBody>
          <a:bodyPr wrap="none" rtlCol="0" anchor="ctr">
            <a:noAutofit/>
          </a:bodyPr>
          <a:lstStyle/>
          <a:p>
            <a:pPr marR="0" indent="0" fontAlgn="auto">
              <a:lnSpc>
                <a:spcPct val="100000"/>
              </a:lnSpc>
              <a:spcBef>
                <a:spcPts val="200"/>
              </a:spcBef>
              <a:spcAft>
                <a:spcPts val="200"/>
              </a:spcAft>
              <a:buClrTx/>
              <a:buSzTx/>
              <a:buFontTx/>
              <a:buNone/>
              <a:tabLst/>
              <a:defRPr/>
            </a:pPr>
            <a:r>
              <a:rPr lang="en-GB" sz="1600">
                <a:solidFill>
                  <a:srgbClr val="ADADAD"/>
                </a:solidFill>
                <a:latin typeface="Open Sans" panose="020B0606030504020204" pitchFamily="34" charset="0"/>
                <a:ea typeface="Open Sans" panose="020B0606030504020204" pitchFamily="34" charset="0"/>
                <a:cs typeface="Open Sans" panose="020B0606030504020204" pitchFamily="34" charset="0"/>
              </a:rPr>
              <a:t>Pitch Guidelines</a:t>
            </a:r>
          </a:p>
        </p:txBody>
      </p:sp>
      <p:grpSp>
        <p:nvGrpSpPr>
          <p:cNvPr id="11" name="Graphic 4">
            <a:extLst>
              <a:ext uri="{FF2B5EF4-FFF2-40B4-BE49-F238E27FC236}">
                <a16:creationId xmlns:a16="http://schemas.microsoft.com/office/drawing/2014/main" id="{50289CDB-B1C8-4EEA-8F04-1936276CD13F}"/>
              </a:ext>
            </a:extLst>
          </p:cNvPr>
          <p:cNvGrpSpPr>
            <a:grpSpLocks noChangeAspect="1"/>
          </p:cNvGrpSpPr>
          <p:nvPr/>
        </p:nvGrpSpPr>
        <p:grpSpPr>
          <a:xfrm>
            <a:off x="544148" y="3811313"/>
            <a:ext cx="288000" cy="191290"/>
            <a:chOff x="2626264" y="1990049"/>
            <a:chExt cx="230676" cy="153216"/>
          </a:xfrm>
          <a:solidFill>
            <a:schemeClr val="accent1">
              <a:lumMod val="40000"/>
              <a:lumOff val="60000"/>
            </a:schemeClr>
          </a:solidFill>
        </p:grpSpPr>
        <p:sp>
          <p:nvSpPr>
            <p:cNvPr id="14" name="Graphic 4">
              <a:extLst>
                <a:ext uri="{FF2B5EF4-FFF2-40B4-BE49-F238E27FC236}">
                  <a16:creationId xmlns:a16="http://schemas.microsoft.com/office/drawing/2014/main" id="{33F625A5-B192-0DD9-7DC9-4B596EF2A422}"/>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8995E8D5-84D1-B22E-B04B-9B4AFBC12299}"/>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9B3ACD13-5CF1-2CB2-34EF-20B18DE4E051}"/>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03FD0E2C-836D-8362-FCA7-DCAFFF5E1D93}"/>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5F20877B-74E7-F154-AEA4-517AF9E70E3B}"/>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FEC5D472-B973-58E9-637A-0CBF70E5C51C}"/>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grpSp>
        <p:nvGrpSpPr>
          <p:cNvPr id="45" name="Graphic 4">
            <a:extLst>
              <a:ext uri="{FF2B5EF4-FFF2-40B4-BE49-F238E27FC236}">
                <a16:creationId xmlns:a16="http://schemas.microsoft.com/office/drawing/2014/main" id="{6EA22B28-3EC7-16F0-21A2-EF044AF6E569}"/>
              </a:ext>
            </a:extLst>
          </p:cNvPr>
          <p:cNvGrpSpPr>
            <a:grpSpLocks noChangeAspect="1"/>
          </p:cNvGrpSpPr>
          <p:nvPr/>
        </p:nvGrpSpPr>
        <p:grpSpPr>
          <a:xfrm>
            <a:off x="587757" y="4455903"/>
            <a:ext cx="288000" cy="287734"/>
            <a:chOff x="552729" y="1978558"/>
            <a:chExt cx="191059" cy="190881"/>
          </a:xfrm>
          <a:solidFill>
            <a:schemeClr val="accent1">
              <a:lumMod val="40000"/>
              <a:lumOff val="60000"/>
            </a:schemeClr>
          </a:solidFill>
        </p:grpSpPr>
        <p:sp>
          <p:nvSpPr>
            <p:cNvPr id="46" name="Graphic 4">
              <a:extLst>
                <a:ext uri="{FF2B5EF4-FFF2-40B4-BE49-F238E27FC236}">
                  <a16:creationId xmlns:a16="http://schemas.microsoft.com/office/drawing/2014/main" id="{42C180F7-AD63-1D86-A9DD-CA7B964CCD23}"/>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565B36E6-E9C1-AB74-782A-591408B70223}"/>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85D7A348-C0D8-99C9-40F9-7F5D51B2C9B6}"/>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3B758C39-01D5-1DED-D567-C6AB23160CC8}"/>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20898C92-8F39-0519-FD32-2A89E14A5C49}"/>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spTree>
    <p:extLst>
      <p:ext uri="{BB962C8B-B14F-4D97-AF65-F5344CB8AC3E}">
        <p14:creationId xmlns:p14="http://schemas.microsoft.com/office/powerpoint/2010/main" val="376721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685C80B-9A6C-35A2-3A7F-A982727E618B}"/>
              </a:ext>
            </a:extLst>
          </p:cNvPr>
          <p:cNvGrpSpPr/>
          <p:nvPr/>
        </p:nvGrpSpPr>
        <p:grpSpPr>
          <a:xfrm>
            <a:off x="5823854" y="-677"/>
            <a:ext cx="6376175" cy="6871419"/>
            <a:chOff x="5686804" y="-50109"/>
            <a:chExt cx="6376175" cy="6918353"/>
          </a:xfrm>
        </p:grpSpPr>
        <p:sp>
          <p:nvSpPr>
            <p:cNvPr id="8" name="Rectangle 7">
              <a:extLst>
                <a:ext uri="{FF2B5EF4-FFF2-40B4-BE49-F238E27FC236}">
                  <a16:creationId xmlns:a16="http://schemas.microsoft.com/office/drawing/2014/main" id="{460B7BB1-8C28-2C27-A71E-7887FADBE96C}"/>
                </a:ext>
              </a:extLst>
            </p:cNvPr>
            <p:cNvSpPr/>
            <p:nvPr/>
          </p:nvSpPr>
          <p:spPr>
            <a:xfrm>
              <a:off x="7312621" y="-50109"/>
              <a:ext cx="4750358" cy="6917671"/>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30" name="Right Triangle 29">
              <a:extLst>
                <a:ext uri="{FF2B5EF4-FFF2-40B4-BE49-F238E27FC236}">
                  <a16:creationId xmlns:a16="http://schemas.microsoft.com/office/drawing/2014/main" id="{F9BA1548-4D16-FF31-5A00-57E9BD1B96AE}"/>
                </a:ext>
              </a:extLst>
            </p:cNvPr>
            <p:cNvSpPr/>
            <p:nvPr/>
          </p:nvSpPr>
          <p:spPr bwMode="gray">
            <a:xfrm flipH="1">
              <a:off x="5686804" y="-28575"/>
              <a:ext cx="2033046" cy="6896819"/>
            </a:xfrm>
            <a:prstGeom prst="rtTriangle">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defTabSz="914400" hangingPunct="0"/>
              <a:endParaRPr lang="en-GB" sz="1800" kern="0">
                <a:solidFill>
                  <a:srgbClr val="000000"/>
                </a:solidFill>
                <a:latin typeface="Calibri" panose="020F0502020204030204" pitchFamily="34" charset="0"/>
                <a:ea typeface="Open Sans"/>
                <a:cs typeface="Calibri" panose="020F0502020204030204" pitchFamily="34" charset="0"/>
              </a:endParaRPr>
            </a:p>
          </p:txBody>
        </p:sp>
      </p:grpSp>
      <p:sp>
        <p:nvSpPr>
          <p:cNvPr id="35" name="Freeform 26">
            <a:extLst>
              <a:ext uri="{FF2B5EF4-FFF2-40B4-BE49-F238E27FC236}">
                <a16:creationId xmlns:a16="http://schemas.microsoft.com/office/drawing/2014/main" id="{BC4E3C9E-D3F9-DE3B-FE8B-C4E0DD375090}"/>
              </a:ext>
            </a:extLst>
          </p:cNvPr>
          <p:cNvSpPr/>
          <p:nvPr/>
        </p:nvSpPr>
        <p:spPr>
          <a:xfrm>
            <a:off x="3181350" y="-1"/>
            <a:ext cx="5627370" cy="6868245"/>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2" name="Content Placeholder 4">
            <a:extLst>
              <a:ext uri="{FF2B5EF4-FFF2-40B4-BE49-F238E27FC236}">
                <a16:creationId xmlns:a16="http://schemas.microsoft.com/office/drawing/2014/main" id="{E2DF57C2-2118-6880-BE1E-0EAAA11E26BB}"/>
              </a:ext>
            </a:extLst>
          </p:cNvPr>
          <p:cNvSpPr txBox="1">
            <a:spLocks/>
          </p:cNvSpPr>
          <p:nvPr/>
        </p:nvSpPr>
        <p:spPr>
          <a:xfrm>
            <a:off x="1342256" y="1665288"/>
            <a:ext cx="5812924" cy="4633913"/>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6705432"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lgn="just">
              <a:buClr>
                <a:schemeClr val="accent1"/>
              </a:buClr>
              <a:buFont typeface="Verdana" panose="020B0604030504040204" pitchFamily="34" charset="0"/>
              <a:buChar char="»"/>
            </a:pPr>
            <a:r>
              <a:rPr lang="en-US" sz="1100" dirty="0"/>
              <a:t>Generative AI is a </a:t>
            </a:r>
            <a:r>
              <a:rPr lang="en-US" sz="1100" b="1" dirty="0"/>
              <a:t>subset of artificial intelligence </a:t>
            </a:r>
            <a:r>
              <a:rPr lang="en-US" sz="1100" dirty="0"/>
              <a:t>focused on the </a:t>
            </a:r>
            <a:r>
              <a:rPr lang="en-US" sz="1100" b="1" dirty="0"/>
              <a:t>ability of machines to create outputs</a:t>
            </a:r>
            <a:r>
              <a:rPr lang="en-US" sz="1100" dirty="0"/>
              <a:t> across various modalities (e.g., text, images, audio, code, voice, video).</a:t>
            </a:r>
          </a:p>
          <a:p>
            <a:pPr marL="171450" indent="-171450" algn="just">
              <a:buClr>
                <a:schemeClr val="accent1"/>
              </a:buClr>
              <a:buFont typeface="Verdana" panose="020B0604030504040204" pitchFamily="34" charset="0"/>
              <a:buChar char="»"/>
            </a:pPr>
            <a:endParaRPr lang="en-US" sz="500"/>
          </a:p>
          <a:p>
            <a:pPr marL="171450" indent="-171450" algn="just">
              <a:buClr>
                <a:schemeClr val="accent1"/>
              </a:buClr>
              <a:buFont typeface="Verdana" panose="020B0604030504040204" pitchFamily="34" charset="0"/>
              <a:buChar char="»"/>
            </a:pPr>
            <a:r>
              <a:rPr lang="en-US" sz="1100" dirty="0"/>
              <a:t>It uses </a:t>
            </a:r>
            <a:r>
              <a:rPr lang="en-US" sz="1100" b="1" dirty="0"/>
              <a:t>Large Language Model </a:t>
            </a:r>
            <a:r>
              <a:rPr lang="en-US" sz="1100" dirty="0"/>
              <a:t>(LLMs), such as OpenAI’s GPT, trained on massive amounts of data to </a:t>
            </a:r>
            <a:r>
              <a:rPr lang="en-US" sz="1100" b="1" dirty="0"/>
              <a:t>understand human communication and natural language</a:t>
            </a:r>
            <a:r>
              <a:rPr lang="en-US" sz="1100" dirty="0"/>
              <a:t>.</a:t>
            </a:r>
            <a:endParaRPr lang="en-US" sz="1100" dirty="0">
              <a:ea typeface="Verdana"/>
            </a:endParaRPr>
          </a:p>
          <a:p>
            <a:pPr marL="171450" indent="-171450" algn="just">
              <a:buClr>
                <a:schemeClr val="accent1"/>
              </a:buClr>
              <a:buFont typeface="Verdana" panose="020B0604030504040204" pitchFamily="34" charset="0"/>
              <a:buChar char="»"/>
            </a:pPr>
            <a:endParaRPr lang="en-US" sz="500"/>
          </a:p>
          <a:p>
            <a:pPr marL="171450" indent="-171450" algn="just">
              <a:buClr>
                <a:schemeClr val="accent1"/>
              </a:buClr>
              <a:buFont typeface="Verdana" panose="020B0604030504040204" pitchFamily="34" charset="0"/>
              <a:buChar char="»"/>
            </a:pPr>
            <a:r>
              <a:rPr lang="en-US" sz="1100" dirty="0"/>
              <a:t>These models can also be fine-tuned to become specialized for industry/ domain-specific solutions using </a:t>
            </a:r>
            <a:r>
              <a:rPr lang="en-US" sz="1100" b="1" dirty="0"/>
              <a:t>fit-for-purpose AI application frameworks </a:t>
            </a:r>
            <a:r>
              <a:rPr lang="en-US" sz="1100" dirty="0"/>
              <a:t>(e.g., NVIDIA nemo).</a:t>
            </a:r>
            <a:endParaRPr lang="en-US" sz="1100" dirty="0">
              <a:ea typeface="Verdana"/>
            </a:endParaRPr>
          </a:p>
          <a:p>
            <a:pPr marL="171450" indent="-171450" algn="just">
              <a:buClr>
                <a:schemeClr val="accent1"/>
              </a:buClr>
              <a:buFont typeface="Verdana" panose="020B0604030504040204" pitchFamily="34" charset="0"/>
              <a:buChar char="»"/>
            </a:pPr>
            <a:endParaRPr lang="en-US" sz="500"/>
          </a:p>
          <a:p>
            <a:pPr marL="171450" indent="-171450" algn="just">
              <a:buClr>
                <a:schemeClr val="accent1"/>
              </a:buClr>
              <a:buFont typeface="Verdana" panose="020B0604030504040204" pitchFamily="34" charset="0"/>
              <a:buChar char="»"/>
            </a:pPr>
            <a:r>
              <a:rPr lang="en-US" sz="1100" b="1" dirty="0"/>
              <a:t>LLMs</a:t>
            </a:r>
            <a:r>
              <a:rPr lang="en-US" sz="1100" dirty="0"/>
              <a:t> are usually </a:t>
            </a:r>
            <a:r>
              <a:rPr lang="en-US" sz="1100" b="1" dirty="0"/>
              <a:t>trained</a:t>
            </a:r>
            <a:r>
              <a:rPr lang="en-US" sz="1100" dirty="0"/>
              <a:t> on </a:t>
            </a:r>
            <a:r>
              <a:rPr lang="en-US" sz="1100" b="1" dirty="0"/>
              <a:t>large amounts of general-purpose data.</a:t>
            </a:r>
            <a:r>
              <a:rPr lang="en-US" sz="1100" dirty="0"/>
              <a:t> However, the model may also have </a:t>
            </a:r>
            <a:r>
              <a:rPr lang="en-US" sz="1100" b="1" dirty="0"/>
              <a:t>contextual information</a:t>
            </a:r>
            <a:r>
              <a:rPr lang="en-US" sz="1100" dirty="0"/>
              <a:t>, usually non-public, real-time, or purpose-specific data, with a technique called </a:t>
            </a:r>
            <a:r>
              <a:rPr lang="en-US" sz="1100" b="1" dirty="0"/>
              <a:t>Retrieval-augmented generation </a:t>
            </a:r>
            <a:r>
              <a:rPr lang="en-US" sz="1100" dirty="0"/>
              <a:t>(RAG).</a:t>
            </a:r>
            <a:endParaRPr lang="en-US" sz="1100" dirty="0">
              <a:ea typeface="Verdana"/>
            </a:endParaRPr>
          </a:p>
          <a:p>
            <a:pPr marL="171450" indent="-171450" algn="just">
              <a:buClr>
                <a:schemeClr val="accent1"/>
              </a:buClr>
              <a:buFont typeface="Verdana" panose="020B0604030504040204" pitchFamily="34" charset="0"/>
              <a:buChar char="»"/>
            </a:pPr>
            <a:endParaRPr lang="en-US" sz="500">
              <a:ea typeface="Verdana"/>
              <a:cs typeface="Verdana"/>
            </a:endParaRPr>
          </a:p>
          <a:p>
            <a:pPr marL="171450" indent="-171450" algn="just">
              <a:buClr>
                <a:schemeClr val="accent1"/>
              </a:buClr>
              <a:buFont typeface="Verdana" panose="020B0604030504040204" pitchFamily="34" charset="0"/>
              <a:buChar char="»"/>
            </a:pPr>
            <a:r>
              <a:rPr lang="en-US" sz="1100" dirty="0">
                <a:ea typeface="Verdana"/>
                <a:cs typeface="Verdana"/>
              </a:rPr>
              <a:t>RAG is an </a:t>
            </a:r>
            <a:r>
              <a:rPr lang="en-US" sz="1100" b="1" dirty="0">
                <a:ea typeface="Verdana"/>
                <a:cs typeface="Verdana"/>
              </a:rPr>
              <a:t>AI framework </a:t>
            </a:r>
            <a:r>
              <a:rPr lang="en-US" sz="1100" dirty="0">
                <a:ea typeface="Verdana"/>
                <a:cs typeface="Verdana"/>
              </a:rPr>
              <a:t>that combines the strengths of </a:t>
            </a:r>
            <a:r>
              <a:rPr lang="en-US" sz="1100" b="1" dirty="0">
                <a:ea typeface="Verdana"/>
                <a:cs typeface="Verdana"/>
              </a:rPr>
              <a:t>traditional information retrieval systems </a:t>
            </a:r>
            <a:r>
              <a:rPr lang="en-US" sz="1100" dirty="0">
                <a:ea typeface="Verdana"/>
                <a:cs typeface="Verdana"/>
              </a:rPr>
              <a:t>(such as search and databases) with the capabilities of </a:t>
            </a:r>
            <a:r>
              <a:rPr lang="en-US" sz="1100" b="1" dirty="0">
                <a:ea typeface="Verdana"/>
                <a:cs typeface="Verdana"/>
              </a:rPr>
              <a:t>generative LLMs</a:t>
            </a:r>
            <a:r>
              <a:rPr lang="en-US" sz="1100" dirty="0">
                <a:ea typeface="Verdana"/>
                <a:cs typeface="Verdana"/>
              </a:rPr>
              <a:t>.</a:t>
            </a:r>
          </a:p>
          <a:p>
            <a:pPr marL="171450" indent="-171450" algn="just">
              <a:buClr>
                <a:schemeClr val="accent1"/>
              </a:buClr>
              <a:buFont typeface="Verdana" panose="020B0604030504040204" pitchFamily="34" charset="0"/>
              <a:buChar char="»"/>
            </a:pPr>
            <a:endParaRPr lang="en-US" sz="1100">
              <a:ea typeface="Verdana"/>
              <a:cs typeface="Verdana"/>
            </a:endParaRPr>
          </a:p>
        </p:txBody>
      </p:sp>
      <p:sp>
        <p:nvSpPr>
          <p:cNvPr id="7" name="Rectangle: Rounded Corners 6">
            <a:extLst>
              <a:ext uri="{FF2B5EF4-FFF2-40B4-BE49-F238E27FC236}">
                <a16:creationId xmlns:a16="http://schemas.microsoft.com/office/drawing/2014/main" id="{22F3B051-E833-43B8-6053-DC1CF4DF4CE7}"/>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9" name="Rectangle: Rounded Corners 38">
            <a:extLst>
              <a:ext uri="{FF2B5EF4-FFF2-40B4-BE49-F238E27FC236}">
                <a16:creationId xmlns:a16="http://schemas.microsoft.com/office/drawing/2014/main" id="{AF7C77C2-91B1-C5FA-338C-EA2B753F311F}"/>
              </a:ext>
            </a:extLst>
          </p:cNvPr>
          <p:cNvSpPr/>
          <p:nvPr/>
        </p:nvSpPr>
        <p:spPr>
          <a:xfrm>
            <a:off x="374072" y="792431"/>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5" name="Graphic 4">
            <a:extLst>
              <a:ext uri="{FF2B5EF4-FFF2-40B4-BE49-F238E27FC236}">
                <a16:creationId xmlns:a16="http://schemas.microsoft.com/office/drawing/2014/main" id="{CB0D1D68-9B3E-E426-D562-3231C823C3A3}"/>
              </a:ext>
            </a:extLst>
          </p:cNvPr>
          <p:cNvGrpSpPr>
            <a:grpSpLocks noChangeAspect="1"/>
          </p:cNvGrpSpPr>
          <p:nvPr/>
        </p:nvGrpSpPr>
        <p:grpSpPr>
          <a:xfrm>
            <a:off x="428978" y="976058"/>
            <a:ext cx="336972" cy="324000"/>
            <a:chOff x="1573681" y="2918430"/>
            <a:chExt cx="246172" cy="236696"/>
          </a:xfrm>
          <a:solidFill>
            <a:schemeClr val="bg1"/>
          </a:solidFill>
        </p:grpSpPr>
        <p:sp>
          <p:nvSpPr>
            <p:cNvPr id="56" name="Graphic 4">
              <a:extLst>
                <a:ext uri="{FF2B5EF4-FFF2-40B4-BE49-F238E27FC236}">
                  <a16:creationId xmlns:a16="http://schemas.microsoft.com/office/drawing/2014/main" id="{78D45E51-A47C-54F6-6705-F2043D7F6C31}"/>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72AF13A3-0730-83DE-2860-105AB098ADA5}"/>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58" name="Graphic 4">
              <a:extLst>
                <a:ext uri="{FF2B5EF4-FFF2-40B4-BE49-F238E27FC236}">
                  <a16:creationId xmlns:a16="http://schemas.microsoft.com/office/drawing/2014/main" id="{D688C8E8-BA7C-7092-D877-5180554F382F}"/>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B3DE17D7-D6EE-8723-2D90-3F4126C0DAAA}"/>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9007744A-7919-3E91-A7B8-18296384B087}"/>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1E0D4C02-3911-03DA-E793-F8499F9F4F27}"/>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sp>
        <p:nvSpPr>
          <p:cNvPr id="6" name="Text Placeholder 5"/>
          <p:cNvSpPr>
            <a:spLocks noGrp="1"/>
          </p:cNvSpPr>
          <p:nvPr>
            <p:ph type="body" sz="quarter" idx="13"/>
          </p:nvPr>
        </p:nvSpPr>
        <p:spPr/>
        <p:txBody>
          <a:bodyPr/>
          <a:lstStyle/>
          <a:p>
            <a:r>
              <a:rPr lang="en-US"/>
              <a:t>Generative AI</a:t>
            </a:r>
            <a:endParaRPr lang="en-US" noProof="0"/>
          </a:p>
        </p:txBody>
      </p:sp>
      <p:sp>
        <p:nvSpPr>
          <p:cNvPr id="3" name="Title 2"/>
          <p:cNvSpPr>
            <a:spLocks noGrp="1"/>
          </p:cNvSpPr>
          <p:nvPr>
            <p:ph type="title"/>
          </p:nvPr>
        </p:nvSpPr>
        <p:spPr/>
        <p:txBody>
          <a:bodyPr/>
          <a:lstStyle/>
          <a:p>
            <a:r>
              <a:rPr lang="en-US" noProof="0"/>
              <a:t>Deloitte Tech Experience</a:t>
            </a:r>
          </a:p>
        </p:txBody>
      </p:sp>
      <p:grpSp>
        <p:nvGrpSpPr>
          <p:cNvPr id="4" name="Graphic 1100">
            <a:extLst>
              <a:ext uri="{FF2B5EF4-FFF2-40B4-BE49-F238E27FC236}">
                <a16:creationId xmlns:a16="http://schemas.microsoft.com/office/drawing/2014/main" id="{3A4636AE-6DBC-F407-8D16-7AB3D0C1A05E}"/>
              </a:ext>
            </a:extLst>
          </p:cNvPr>
          <p:cNvGrpSpPr>
            <a:grpSpLocks noChangeAspect="1"/>
          </p:cNvGrpSpPr>
          <p:nvPr/>
        </p:nvGrpSpPr>
        <p:grpSpPr>
          <a:xfrm>
            <a:off x="447688" y="5314360"/>
            <a:ext cx="263402" cy="360000"/>
            <a:chOff x="5810369" y="1478218"/>
            <a:chExt cx="159748" cy="218332"/>
          </a:xfrm>
          <a:solidFill>
            <a:schemeClr val="bg1"/>
          </a:solidFill>
        </p:grpSpPr>
        <p:sp>
          <p:nvSpPr>
            <p:cNvPr id="22" name="Graphic 1100">
              <a:extLst>
                <a:ext uri="{FF2B5EF4-FFF2-40B4-BE49-F238E27FC236}">
                  <a16:creationId xmlns:a16="http://schemas.microsoft.com/office/drawing/2014/main" id="{38D6E454-0D7A-C078-559A-9EF3FE6DF8C0}"/>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23" name="Graphic 1100">
              <a:extLst>
                <a:ext uri="{FF2B5EF4-FFF2-40B4-BE49-F238E27FC236}">
                  <a16:creationId xmlns:a16="http://schemas.microsoft.com/office/drawing/2014/main" id="{8D21A367-846A-3451-D188-DB6C37B4E783}"/>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4" name="Graphic 1100">
              <a:extLst>
                <a:ext uri="{FF2B5EF4-FFF2-40B4-BE49-F238E27FC236}">
                  <a16:creationId xmlns:a16="http://schemas.microsoft.com/office/drawing/2014/main" id="{8889D97C-78AB-1582-CF4E-4925438A7D2C}"/>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5" name="Graphic 1100">
              <a:extLst>
                <a:ext uri="{FF2B5EF4-FFF2-40B4-BE49-F238E27FC236}">
                  <a16:creationId xmlns:a16="http://schemas.microsoft.com/office/drawing/2014/main" id="{0E68F9FD-D1A0-E31A-C5A3-1C420A9071C5}"/>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26" name="Graphic 4">
            <a:extLst>
              <a:ext uri="{FF2B5EF4-FFF2-40B4-BE49-F238E27FC236}">
                <a16:creationId xmlns:a16="http://schemas.microsoft.com/office/drawing/2014/main" id="{1A21167E-8CD7-BB31-55B8-F35ACB11028E}"/>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27" name="Graphic 4">
              <a:extLst>
                <a:ext uri="{FF2B5EF4-FFF2-40B4-BE49-F238E27FC236}">
                  <a16:creationId xmlns:a16="http://schemas.microsoft.com/office/drawing/2014/main" id="{6AD466D6-6985-06C4-9B35-AF9FC5A5481F}"/>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5B74788E-F22D-68D5-34A0-F664919AB29C}"/>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F929A056-774E-3731-3E9A-C6C23BA825E2}"/>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B9144C6A-EC87-B691-A608-B130E5BAA6D3}"/>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3DB37F17-424E-7CC0-5CFE-89A8E1BE293B}"/>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62" name="Graphic 1100">
            <a:extLst>
              <a:ext uri="{FF2B5EF4-FFF2-40B4-BE49-F238E27FC236}">
                <a16:creationId xmlns:a16="http://schemas.microsoft.com/office/drawing/2014/main" id="{DED1C897-C769-8647-00D1-551DB0753A69}"/>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63" name="Graphic 1100">
              <a:extLst>
                <a:ext uri="{FF2B5EF4-FFF2-40B4-BE49-F238E27FC236}">
                  <a16:creationId xmlns:a16="http://schemas.microsoft.com/office/drawing/2014/main" id="{B39C9561-AFA4-CB1B-D02C-7077D35BBF4A}"/>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64" name="Graphic 1100">
              <a:extLst>
                <a:ext uri="{FF2B5EF4-FFF2-40B4-BE49-F238E27FC236}">
                  <a16:creationId xmlns:a16="http://schemas.microsoft.com/office/drawing/2014/main" id="{A919B175-70D4-45C5-ECD9-F578C7950F92}"/>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65" name="Graphic 1100">
              <a:extLst>
                <a:ext uri="{FF2B5EF4-FFF2-40B4-BE49-F238E27FC236}">
                  <a16:creationId xmlns:a16="http://schemas.microsoft.com/office/drawing/2014/main" id="{6698E0F0-D342-3EF4-39BF-718252E33A3B}"/>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66" name="Graphic 1100">
              <a:extLst>
                <a:ext uri="{FF2B5EF4-FFF2-40B4-BE49-F238E27FC236}">
                  <a16:creationId xmlns:a16="http://schemas.microsoft.com/office/drawing/2014/main" id="{8B808B86-09A4-779F-B067-B7185E1DA381}"/>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67" name="Graphic 4">
            <a:extLst>
              <a:ext uri="{FF2B5EF4-FFF2-40B4-BE49-F238E27FC236}">
                <a16:creationId xmlns:a16="http://schemas.microsoft.com/office/drawing/2014/main" id="{F578D705-01D8-F108-7434-08C3FD2F7F08}"/>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68" name="Graphic 4">
              <a:extLst>
                <a:ext uri="{FF2B5EF4-FFF2-40B4-BE49-F238E27FC236}">
                  <a16:creationId xmlns:a16="http://schemas.microsoft.com/office/drawing/2014/main" id="{62847506-25B0-C047-AC8D-EFA73E8CE4A1}"/>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1DA99980-F0EF-0BE7-6D9A-345CC44CEA63}"/>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349043CC-EF31-55DE-BF72-23C093419A36}"/>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2F9B485C-DF15-FB54-A369-53436A9EF323}"/>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768CAC3A-FC14-2005-C913-7CC439B09C25}"/>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F4EF4BD6-B318-79F6-0719-7267D28AD8CF}"/>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74" name="Graphic 4">
            <a:extLst>
              <a:ext uri="{FF2B5EF4-FFF2-40B4-BE49-F238E27FC236}">
                <a16:creationId xmlns:a16="http://schemas.microsoft.com/office/drawing/2014/main" id="{2806A358-C3F0-1D8A-8FE9-D83E3ADA4A1F}"/>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pic>
        <p:nvPicPr>
          <p:cNvPr id="75" name="Graphic 74" descr="Upward trend with solid fill">
            <a:extLst>
              <a:ext uri="{FF2B5EF4-FFF2-40B4-BE49-F238E27FC236}">
                <a16:creationId xmlns:a16="http://schemas.microsoft.com/office/drawing/2014/main" id="{45F25D0A-E142-9DCD-F481-C2B493E340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9163" y="1831574"/>
            <a:ext cx="324000" cy="324000"/>
          </a:xfrm>
          <a:prstGeom prst="rect">
            <a:avLst/>
          </a:prstGeom>
        </p:spPr>
      </p:pic>
    </p:spTree>
    <p:extLst>
      <p:ext uri="{BB962C8B-B14F-4D97-AF65-F5344CB8AC3E}">
        <p14:creationId xmlns:p14="http://schemas.microsoft.com/office/powerpoint/2010/main" val="427399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0382F-F0AA-1AD9-551D-A94E265B96F0}"/>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42C29F0B-9A9A-8F13-8A7D-0B9B26DD0707}"/>
              </a:ext>
            </a:extLst>
          </p:cNvPr>
          <p:cNvGrpSpPr/>
          <p:nvPr/>
        </p:nvGrpSpPr>
        <p:grpSpPr>
          <a:xfrm>
            <a:off x="5823854" y="-677"/>
            <a:ext cx="6376175" cy="6871419"/>
            <a:chOff x="5686804" y="-50109"/>
            <a:chExt cx="6376175" cy="6918353"/>
          </a:xfrm>
        </p:grpSpPr>
        <p:sp>
          <p:nvSpPr>
            <p:cNvPr id="8" name="Rectangle 7">
              <a:extLst>
                <a:ext uri="{FF2B5EF4-FFF2-40B4-BE49-F238E27FC236}">
                  <a16:creationId xmlns:a16="http://schemas.microsoft.com/office/drawing/2014/main" id="{EFF2BA6C-7A1C-627E-D3B1-D825BDB99E91}"/>
                </a:ext>
              </a:extLst>
            </p:cNvPr>
            <p:cNvSpPr/>
            <p:nvPr/>
          </p:nvSpPr>
          <p:spPr>
            <a:xfrm>
              <a:off x="7312621" y="-50109"/>
              <a:ext cx="4750358" cy="6917671"/>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30" name="Right Triangle 29">
              <a:extLst>
                <a:ext uri="{FF2B5EF4-FFF2-40B4-BE49-F238E27FC236}">
                  <a16:creationId xmlns:a16="http://schemas.microsoft.com/office/drawing/2014/main" id="{0A935491-3D8F-1006-D88E-DEE0982D9253}"/>
                </a:ext>
              </a:extLst>
            </p:cNvPr>
            <p:cNvSpPr/>
            <p:nvPr/>
          </p:nvSpPr>
          <p:spPr bwMode="gray">
            <a:xfrm flipH="1">
              <a:off x="5686804" y="-28575"/>
              <a:ext cx="2033046" cy="6896819"/>
            </a:xfrm>
            <a:prstGeom prst="rtTriangle">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defTabSz="914400" hangingPunct="0"/>
              <a:endParaRPr lang="en-GB" sz="1800" kern="0">
                <a:solidFill>
                  <a:srgbClr val="000000"/>
                </a:solidFill>
                <a:latin typeface="Calibri" panose="020F0502020204030204" pitchFamily="34" charset="0"/>
                <a:ea typeface="Open Sans"/>
                <a:cs typeface="Calibri" panose="020F0502020204030204" pitchFamily="34" charset="0"/>
              </a:endParaRPr>
            </a:p>
          </p:txBody>
        </p:sp>
      </p:grpSp>
      <p:sp>
        <p:nvSpPr>
          <p:cNvPr id="35" name="Freeform 26">
            <a:extLst>
              <a:ext uri="{FF2B5EF4-FFF2-40B4-BE49-F238E27FC236}">
                <a16:creationId xmlns:a16="http://schemas.microsoft.com/office/drawing/2014/main" id="{758DC829-730A-E234-FD02-054827147C15}"/>
              </a:ext>
            </a:extLst>
          </p:cNvPr>
          <p:cNvSpPr/>
          <p:nvPr/>
        </p:nvSpPr>
        <p:spPr>
          <a:xfrm>
            <a:off x="3166531" y="16588"/>
            <a:ext cx="5627370" cy="6868245"/>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7" name="Rectangle: Rounded Corners 6">
            <a:extLst>
              <a:ext uri="{FF2B5EF4-FFF2-40B4-BE49-F238E27FC236}">
                <a16:creationId xmlns:a16="http://schemas.microsoft.com/office/drawing/2014/main" id="{BDBA623D-587C-D0FC-A8DC-32F8471486B7}"/>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9" name="Rectangle: Rounded Corners 38">
            <a:extLst>
              <a:ext uri="{FF2B5EF4-FFF2-40B4-BE49-F238E27FC236}">
                <a16:creationId xmlns:a16="http://schemas.microsoft.com/office/drawing/2014/main" id="{BF7824DA-2A37-6040-085E-EB3BFD43FA3B}"/>
              </a:ext>
            </a:extLst>
          </p:cNvPr>
          <p:cNvSpPr/>
          <p:nvPr/>
        </p:nvSpPr>
        <p:spPr>
          <a:xfrm>
            <a:off x="374072" y="792431"/>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5" name="Graphic 4">
            <a:extLst>
              <a:ext uri="{FF2B5EF4-FFF2-40B4-BE49-F238E27FC236}">
                <a16:creationId xmlns:a16="http://schemas.microsoft.com/office/drawing/2014/main" id="{8FB3415F-F9AD-9D25-7BE7-5CF2ED9E67A4}"/>
              </a:ext>
            </a:extLst>
          </p:cNvPr>
          <p:cNvGrpSpPr>
            <a:grpSpLocks noChangeAspect="1"/>
          </p:cNvGrpSpPr>
          <p:nvPr/>
        </p:nvGrpSpPr>
        <p:grpSpPr>
          <a:xfrm>
            <a:off x="428978" y="976058"/>
            <a:ext cx="336972" cy="324000"/>
            <a:chOff x="1573681" y="2918430"/>
            <a:chExt cx="246172" cy="236696"/>
          </a:xfrm>
          <a:solidFill>
            <a:schemeClr val="bg1"/>
          </a:solidFill>
        </p:grpSpPr>
        <p:sp>
          <p:nvSpPr>
            <p:cNvPr id="56" name="Graphic 4">
              <a:extLst>
                <a:ext uri="{FF2B5EF4-FFF2-40B4-BE49-F238E27FC236}">
                  <a16:creationId xmlns:a16="http://schemas.microsoft.com/office/drawing/2014/main" id="{F77AED59-0028-B595-EF71-602A48B8EE4C}"/>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6AC9A734-B029-B426-0F6E-69EFA1648CE1}"/>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58" name="Graphic 4">
              <a:extLst>
                <a:ext uri="{FF2B5EF4-FFF2-40B4-BE49-F238E27FC236}">
                  <a16:creationId xmlns:a16="http://schemas.microsoft.com/office/drawing/2014/main" id="{3F517DA6-3244-6DD6-1014-562859DD32D3}"/>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3F06DCE0-B0DC-A7D4-01C2-1AED01C2A8EA}"/>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35D7B8AD-D5B7-A3ED-C603-C9FB8AD4E59A}"/>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5A3A3239-A0A2-1F06-1839-10673BB3CAC1}"/>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sp>
        <p:nvSpPr>
          <p:cNvPr id="6" name="Text Placeholder 5">
            <a:extLst>
              <a:ext uri="{FF2B5EF4-FFF2-40B4-BE49-F238E27FC236}">
                <a16:creationId xmlns:a16="http://schemas.microsoft.com/office/drawing/2014/main" id="{4ABE7E40-7869-836D-48F4-D825AE601BC4}"/>
              </a:ext>
            </a:extLst>
          </p:cNvPr>
          <p:cNvSpPr>
            <a:spLocks noGrp="1"/>
          </p:cNvSpPr>
          <p:nvPr>
            <p:ph type="body" sz="quarter" idx="13"/>
          </p:nvPr>
        </p:nvSpPr>
        <p:spPr/>
        <p:txBody>
          <a:bodyPr vert="horz" lIns="0" tIns="0" rIns="0" bIns="0" rtlCol="0" anchor="t">
            <a:noAutofit/>
          </a:bodyPr>
          <a:lstStyle/>
          <a:p>
            <a:r>
              <a:rPr lang="en-US" dirty="0"/>
              <a:t>Retrieval-augmented Generation (RAG)</a:t>
            </a:r>
            <a:endParaRPr lang="en-US" noProof="0" dirty="0"/>
          </a:p>
        </p:txBody>
      </p:sp>
      <p:sp>
        <p:nvSpPr>
          <p:cNvPr id="3" name="Title 2">
            <a:extLst>
              <a:ext uri="{FF2B5EF4-FFF2-40B4-BE49-F238E27FC236}">
                <a16:creationId xmlns:a16="http://schemas.microsoft.com/office/drawing/2014/main" id="{50112C44-C7DA-47BE-6AB4-CEF1729BCD8E}"/>
              </a:ext>
            </a:extLst>
          </p:cNvPr>
          <p:cNvSpPr>
            <a:spLocks noGrp="1"/>
          </p:cNvSpPr>
          <p:nvPr>
            <p:ph type="title"/>
          </p:nvPr>
        </p:nvSpPr>
        <p:spPr/>
        <p:txBody>
          <a:bodyPr/>
          <a:lstStyle/>
          <a:p>
            <a:r>
              <a:rPr lang="en-US" noProof="0"/>
              <a:t>Deloitte Tech Experience</a:t>
            </a:r>
          </a:p>
        </p:txBody>
      </p:sp>
      <p:grpSp>
        <p:nvGrpSpPr>
          <p:cNvPr id="4" name="Graphic 1100">
            <a:extLst>
              <a:ext uri="{FF2B5EF4-FFF2-40B4-BE49-F238E27FC236}">
                <a16:creationId xmlns:a16="http://schemas.microsoft.com/office/drawing/2014/main" id="{02E037F8-84E8-587C-C3EE-B5E581E2B1AE}"/>
              </a:ext>
            </a:extLst>
          </p:cNvPr>
          <p:cNvGrpSpPr>
            <a:grpSpLocks noChangeAspect="1"/>
          </p:cNvGrpSpPr>
          <p:nvPr/>
        </p:nvGrpSpPr>
        <p:grpSpPr>
          <a:xfrm>
            <a:off x="447688" y="5314360"/>
            <a:ext cx="263402" cy="360000"/>
            <a:chOff x="5810369" y="1478218"/>
            <a:chExt cx="159748" cy="218332"/>
          </a:xfrm>
          <a:solidFill>
            <a:schemeClr val="bg1"/>
          </a:solidFill>
        </p:grpSpPr>
        <p:sp>
          <p:nvSpPr>
            <p:cNvPr id="22" name="Graphic 1100">
              <a:extLst>
                <a:ext uri="{FF2B5EF4-FFF2-40B4-BE49-F238E27FC236}">
                  <a16:creationId xmlns:a16="http://schemas.microsoft.com/office/drawing/2014/main" id="{48473AFE-8327-3384-0444-DB88D54FB36F}"/>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23" name="Graphic 1100">
              <a:extLst>
                <a:ext uri="{FF2B5EF4-FFF2-40B4-BE49-F238E27FC236}">
                  <a16:creationId xmlns:a16="http://schemas.microsoft.com/office/drawing/2014/main" id="{78D1D9EF-A838-DC16-FCCB-BEE4426FB400}"/>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4" name="Graphic 1100">
              <a:extLst>
                <a:ext uri="{FF2B5EF4-FFF2-40B4-BE49-F238E27FC236}">
                  <a16:creationId xmlns:a16="http://schemas.microsoft.com/office/drawing/2014/main" id="{4CEDE728-9C9D-A8D6-9885-48031B4A019B}"/>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5" name="Graphic 1100">
              <a:extLst>
                <a:ext uri="{FF2B5EF4-FFF2-40B4-BE49-F238E27FC236}">
                  <a16:creationId xmlns:a16="http://schemas.microsoft.com/office/drawing/2014/main" id="{69F0B4B1-6399-B175-2EFD-6E851A4294B3}"/>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26" name="Graphic 4">
            <a:extLst>
              <a:ext uri="{FF2B5EF4-FFF2-40B4-BE49-F238E27FC236}">
                <a16:creationId xmlns:a16="http://schemas.microsoft.com/office/drawing/2014/main" id="{2ACFCF28-E31F-79F7-8932-8537ED88F8C3}"/>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27" name="Graphic 4">
              <a:extLst>
                <a:ext uri="{FF2B5EF4-FFF2-40B4-BE49-F238E27FC236}">
                  <a16:creationId xmlns:a16="http://schemas.microsoft.com/office/drawing/2014/main" id="{67CB8D08-7862-402D-8F97-9727BE67DED8}"/>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389B40BA-53CB-DE02-B7FD-1944A82146C1}"/>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26986FD0-79BC-97AD-C61E-0208722DE3F9}"/>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9905DB19-E754-DF6F-74D1-8DBB237DDD43}"/>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9F3DCF67-48B5-CE3D-15A9-B017DE20D0FC}"/>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62" name="Graphic 1100">
            <a:extLst>
              <a:ext uri="{FF2B5EF4-FFF2-40B4-BE49-F238E27FC236}">
                <a16:creationId xmlns:a16="http://schemas.microsoft.com/office/drawing/2014/main" id="{E239CF1D-EBAF-1842-0A22-37C5E02E7439}"/>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63" name="Graphic 1100">
              <a:extLst>
                <a:ext uri="{FF2B5EF4-FFF2-40B4-BE49-F238E27FC236}">
                  <a16:creationId xmlns:a16="http://schemas.microsoft.com/office/drawing/2014/main" id="{3238DA65-F189-964B-E365-01340A70F3A0}"/>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64" name="Graphic 1100">
              <a:extLst>
                <a:ext uri="{FF2B5EF4-FFF2-40B4-BE49-F238E27FC236}">
                  <a16:creationId xmlns:a16="http://schemas.microsoft.com/office/drawing/2014/main" id="{85C869A9-577B-A340-06DA-48805E5C6739}"/>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65" name="Graphic 1100">
              <a:extLst>
                <a:ext uri="{FF2B5EF4-FFF2-40B4-BE49-F238E27FC236}">
                  <a16:creationId xmlns:a16="http://schemas.microsoft.com/office/drawing/2014/main" id="{E475D22C-40DB-2A55-C249-C29700118840}"/>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66" name="Graphic 1100">
              <a:extLst>
                <a:ext uri="{FF2B5EF4-FFF2-40B4-BE49-F238E27FC236}">
                  <a16:creationId xmlns:a16="http://schemas.microsoft.com/office/drawing/2014/main" id="{18DF8073-2441-5DA7-FF78-F9E3E8B1706F}"/>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67" name="Graphic 4">
            <a:extLst>
              <a:ext uri="{FF2B5EF4-FFF2-40B4-BE49-F238E27FC236}">
                <a16:creationId xmlns:a16="http://schemas.microsoft.com/office/drawing/2014/main" id="{2F8A3869-8FD0-F25F-62A5-D85A1EF584D7}"/>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68" name="Graphic 4">
              <a:extLst>
                <a:ext uri="{FF2B5EF4-FFF2-40B4-BE49-F238E27FC236}">
                  <a16:creationId xmlns:a16="http://schemas.microsoft.com/office/drawing/2014/main" id="{F0DCF313-BE40-7D5F-7151-946B5590A745}"/>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1A89AB46-8A56-9559-E9CB-388DB8F034C6}"/>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86C91D40-B6EA-B698-A283-CC5047730E76}"/>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4207DFEF-8192-339A-1D18-EE874193EB57}"/>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CBBE77A4-1A64-08C8-8F4F-E7CA3E1C8353}"/>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AC1D1BB1-09D2-DCA3-CD5C-570CF5953139}"/>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74" name="Graphic 4">
            <a:extLst>
              <a:ext uri="{FF2B5EF4-FFF2-40B4-BE49-F238E27FC236}">
                <a16:creationId xmlns:a16="http://schemas.microsoft.com/office/drawing/2014/main" id="{99B60980-F198-7351-E174-D746DDE68E13}"/>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pic>
        <p:nvPicPr>
          <p:cNvPr id="75" name="Graphic 74" descr="Upward trend with solid fill">
            <a:extLst>
              <a:ext uri="{FF2B5EF4-FFF2-40B4-BE49-F238E27FC236}">
                <a16:creationId xmlns:a16="http://schemas.microsoft.com/office/drawing/2014/main" id="{25135002-F8A9-7E7D-C50F-C642229383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9163" y="1831574"/>
            <a:ext cx="324000" cy="324000"/>
          </a:xfrm>
          <a:prstGeom prst="rect">
            <a:avLst/>
          </a:prstGeom>
        </p:spPr>
      </p:pic>
      <p:grpSp>
        <p:nvGrpSpPr>
          <p:cNvPr id="9" name="Graphic 4">
            <a:extLst>
              <a:ext uri="{FF2B5EF4-FFF2-40B4-BE49-F238E27FC236}">
                <a16:creationId xmlns:a16="http://schemas.microsoft.com/office/drawing/2014/main" id="{D78E87A7-5BF4-4362-8E44-D283A9844EB7}"/>
              </a:ext>
            </a:extLst>
          </p:cNvPr>
          <p:cNvGrpSpPr>
            <a:grpSpLocks noChangeAspect="1"/>
          </p:cNvGrpSpPr>
          <p:nvPr/>
        </p:nvGrpSpPr>
        <p:grpSpPr>
          <a:xfrm>
            <a:off x="1348792" y="2089899"/>
            <a:ext cx="607263" cy="606690"/>
            <a:chOff x="5708130" y="3824168"/>
            <a:chExt cx="362313" cy="361971"/>
          </a:xfrm>
          <a:solidFill>
            <a:schemeClr val="accent1"/>
          </a:solidFill>
        </p:grpSpPr>
        <p:sp>
          <p:nvSpPr>
            <p:cNvPr id="10" name="Graphic 4">
              <a:extLst>
                <a:ext uri="{FF2B5EF4-FFF2-40B4-BE49-F238E27FC236}">
                  <a16:creationId xmlns:a16="http://schemas.microsoft.com/office/drawing/2014/main" id="{C03666C1-D1AC-4F49-80DD-A4AC66295AD6}"/>
                </a:ext>
              </a:extLst>
            </p:cNvPr>
            <p:cNvSpPr/>
            <p:nvPr/>
          </p:nvSpPr>
          <p:spPr>
            <a:xfrm>
              <a:off x="5708130" y="3824168"/>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49530" y="273873"/>
                    <a:pt x="274767" y="349204"/>
                    <a:pt x="181474" y="349204"/>
                  </a:cubicBezTo>
                  <a:lnTo>
                    <a:pt x="181474" y="349204"/>
                  </a:lnTo>
                  <a:close/>
                </a:path>
              </a:pathLst>
            </a:custGeom>
            <a:grpFill/>
            <a:ln w="6390" cap="flat">
              <a:noFill/>
              <a:prstDash val="solid"/>
              <a:miter/>
            </a:ln>
          </p:spPr>
          <p:txBody>
            <a:bodyPr rtlCol="0" anchor="ctr"/>
            <a:lstStyle/>
            <a:p>
              <a:endParaRPr lang="en-US" sz="900"/>
            </a:p>
          </p:txBody>
        </p:sp>
        <p:sp>
          <p:nvSpPr>
            <p:cNvPr id="11" name="Graphic 4">
              <a:extLst>
                <a:ext uri="{FF2B5EF4-FFF2-40B4-BE49-F238E27FC236}">
                  <a16:creationId xmlns:a16="http://schemas.microsoft.com/office/drawing/2014/main" id="{D5F5A11F-D522-C20C-43CA-A48B9F00059E}"/>
                </a:ext>
              </a:extLst>
            </p:cNvPr>
            <p:cNvSpPr/>
            <p:nvPr/>
          </p:nvSpPr>
          <p:spPr>
            <a:xfrm>
              <a:off x="5793138" y="3908436"/>
              <a:ext cx="195028" cy="194711"/>
            </a:xfrm>
            <a:custGeom>
              <a:avLst/>
              <a:gdLst>
                <a:gd name="connsiteX0" fmla="*/ 190398 w 195028"/>
                <a:gd name="connsiteY0" fmla="*/ 182582 h 194711"/>
                <a:gd name="connsiteX1" fmla="*/ 158449 w 195028"/>
                <a:gd name="connsiteY1" fmla="*/ 174921 h 194711"/>
                <a:gd name="connsiteX2" fmla="*/ 140557 w 195028"/>
                <a:gd name="connsiteY2" fmla="*/ 171729 h 194711"/>
                <a:gd name="connsiteX3" fmla="*/ 130972 w 195028"/>
                <a:gd name="connsiteY3" fmla="*/ 156408 h 194711"/>
                <a:gd name="connsiteX4" fmla="*/ 180174 w 195028"/>
                <a:gd name="connsiteY4" fmla="*/ 156408 h 194711"/>
                <a:gd name="connsiteX5" fmla="*/ 185925 w 195028"/>
                <a:gd name="connsiteY5" fmla="*/ 152577 h 194711"/>
                <a:gd name="connsiteX6" fmla="*/ 184647 w 195028"/>
                <a:gd name="connsiteY6" fmla="*/ 145555 h 194711"/>
                <a:gd name="connsiteX7" fmla="*/ 163561 w 195028"/>
                <a:gd name="connsiteY7" fmla="*/ 67032 h 194711"/>
                <a:gd name="connsiteX8" fmla="*/ 117553 w 195028"/>
                <a:gd name="connsiteY8" fmla="*/ 3192 h 194711"/>
                <a:gd name="connsiteX9" fmla="*/ 97105 w 195028"/>
                <a:gd name="connsiteY9" fmla="*/ 0 h 194711"/>
                <a:gd name="connsiteX10" fmla="*/ 95827 w 195028"/>
                <a:gd name="connsiteY10" fmla="*/ 0 h 194711"/>
                <a:gd name="connsiteX11" fmla="*/ 72823 w 195028"/>
                <a:gd name="connsiteY11" fmla="*/ 3831 h 194711"/>
                <a:gd name="connsiteX12" fmla="*/ 29372 w 195028"/>
                <a:gd name="connsiteY12" fmla="*/ 67032 h 194711"/>
                <a:gd name="connsiteX13" fmla="*/ 8924 w 195028"/>
                <a:gd name="connsiteY13" fmla="*/ 145555 h 194711"/>
                <a:gd name="connsiteX14" fmla="*/ 7646 w 195028"/>
                <a:gd name="connsiteY14" fmla="*/ 152577 h 194711"/>
                <a:gd name="connsiteX15" fmla="*/ 13397 w 195028"/>
                <a:gd name="connsiteY15" fmla="*/ 156408 h 194711"/>
                <a:gd name="connsiteX16" fmla="*/ 61960 w 195028"/>
                <a:gd name="connsiteY16" fmla="*/ 156408 h 194711"/>
                <a:gd name="connsiteX17" fmla="*/ 52376 w 195028"/>
                <a:gd name="connsiteY17" fmla="*/ 171729 h 194711"/>
                <a:gd name="connsiteX18" fmla="*/ 35123 w 195028"/>
                <a:gd name="connsiteY18" fmla="*/ 174921 h 194711"/>
                <a:gd name="connsiteX19" fmla="*/ 3173 w 195028"/>
                <a:gd name="connsiteY19" fmla="*/ 182582 h 194711"/>
                <a:gd name="connsiteX20" fmla="*/ 617 w 195028"/>
                <a:gd name="connsiteY20" fmla="*/ 191519 h 194711"/>
                <a:gd name="connsiteX21" fmla="*/ 9563 w 195028"/>
                <a:gd name="connsiteY21" fmla="*/ 194073 h 194711"/>
                <a:gd name="connsiteX22" fmla="*/ 37040 w 195028"/>
                <a:gd name="connsiteY22" fmla="*/ 187689 h 194711"/>
                <a:gd name="connsiteX23" fmla="*/ 59405 w 195028"/>
                <a:gd name="connsiteY23" fmla="*/ 183220 h 194711"/>
                <a:gd name="connsiteX24" fmla="*/ 76657 w 195028"/>
                <a:gd name="connsiteY24" fmla="*/ 154492 h 194711"/>
                <a:gd name="connsiteX25" fmla="*/ 76018 w 195028"/>
                <a:gd name="connsiteY25" fmla="*/ 128957 h 194711"/>
                <a:gd name="connsiteX26" fmla="*/ 57487 w 195028"/>
                <a:gd name="connsiteY26" fmla="*/ 84907 h 194711"/>
                <a:gd name="connsiteX27" fmla="*/ 54292 w 195028"/>
                <a:gd name="connsiteY27" fmla="*/ 64478 h 194711"/>
                <a:gd name="connsiteX28" fmla="*/ 97744 w 195028"/>
                <a:gd name="connsiteY28" fmla="*/ 32559 h 194711"/>
                <a:gd name="connsiteX29" fmla="*/ 141196 w 195028"/>
                <a:gd name="connsiteY29" fmla="*/ 64478 h 194711"/>
                <a:gd name="connsiteX30" fmla="*/ 138001 w 195028"/>
                <a:gd name="connsiteY30" fmla="*/ 84907 h 194711"/>
                <a:gd name="connsiteX31" fmla="*/ 119470 w 195028"/>
                <a:gd name="connsiteY31" fmla="*/ 128957 h 194711"/>
                <a:gd name="connsiteX32" fmla="*/ 118831 w 195028"/>
                <a:gd name="connsiteY32" fmla="*/ 154492 h 194711"/>
                <a:gd name="connsiteX33" fmla="*/ 136084 w 195028"/>
                <a:gd name="connsiteY33" fmla="*/ 183220 h 194711"/>
                <a:gd name="connsiteX34" fmla="*/ 158449 w 195028"/>
                <a:gd name="connsiteY34" fmla="*/ 187689 h 194711"/>
                <a:gd name="connsiteX35" fmla="*/ 185925 w 195028"/>
                <a:gd name="connsiteY35" fmla="*/ 194073 h 194711"/>
                <a:gd name="connsiteX36" fmla="*/ 189120 w 195028"/>
                <a:gd name="connsiteY36" fmla="*/ 194711 h 194711"/>
                <a:gd name="connsiteX37" fmla="*/ 194871 w 195028"/>
                <a:gd name="connsiteY37" fmla="*/ 191519 h 194711"/>
                <a:gd name="connsiteX38" fmla="*/ 190398 w 195028"/>
                <a:gd name="connsiteY38" fmla="*/ 182582 h 194711"/>
                <a:gd name="connsiteX39" fmla="*/ 190398 w 195028"/>
                <a:gd name="connsiteY39" fmla="*/ 182582 h 194711"/>
                <a:gd name="connsiteX40" fmla="*/ 64517 w 195028"/>
                <a:gd name="connsiteY40" fmla="*/ 135341 h 194711"/>
                <a:gd name="connsiteX41" fmla="*/ 64517 w 195028"/>
                <a:gd name="connsiteY41" fmla="*/ 143640 h 194711"/>
                <a:gd name="connsiteX42" fmla="*/ 25538 w 195028"/>
                <a:gd name="connsiteY42" fmla="*/ 143640 h 194711"/>
                <a:gd name="connsiteX43" fmla="*/ 42152 w 195028"/>
                <a:gd name="connsiteY43" fmla="*/ 78523 h 194711"/>
                <a:gd name="connsiteX44" fmla="*/ 44069 w 195028"/>
                <a:gd name="connsiteY44" fmla="*/ 87461 h 194711"/>
                <a:gd name="connsiteX45" fmla="*/ 64517 w 195028"/>
                <a:gd name="connsiteY45" fmla="*/ 135341 h 194711"/>
                <a:gd name="connsiteX46" fmla="*/ 53015 w 195028"/>
                <a:gd name="connsiteY46" fmla="*/ 51710 h 194711"/>
                <a:gd name="connsiteX47" fmla="*/ 62600 w 195028"/>
                <a:gd name="connsiteY47" fmla="*/ 26175 h 194711"/>
                <a:gd name="connsiteX48" fmla="*/ 77935 w 195028"/>
                <a:gd name="connsiteY48" fmla="*/ 15960 h 194711"/>
                <a:gd name="connsiteX49" fmla="*/ 90076 w 195028"/>
                <a:gd name="connsiteY49" fmla="*/ 13407 h 194711"/>
                <a:gd name="connsiteX50" fmla="*/ 53015 w 195028"/>
                <a:gd name="connsiteY50" fmla="*/ 51710 h 194711"/>
                <a:gd name="connsiteX51" fmla="*/ 53015 w 195028"/>
                <a:gd name="connsiteY51" fmla="*/ 51710 h 194711"/>
                <a:gd name="connsiteX52" fmla="*/ 103495 w 195028"/>
                <a:gd name="connsiteY52" fmla="*/ 12768 h 194711"/>
                <a:gd name="connsiteX53" fmla="*/ 113719 w 195028"/>
                <a:gd name="connsiteY53" fmla="*/ 14683 h 194711"/>
                <a:gd name="connsiteX54" fmla="*/ 130333 w 195028"/>
                <a:gd name="connsiteY54" fmla="*/ 25536 h 194711"/>
                <a:gd name="connsiteX55" fmla="*/ 139918 w 195028"/>
                <a:gd name="connsiteY55" fmla="*/ 51072 h 194711"/>
                <a:gd name="connsiteX56" fmla="*/ 103495 w 195028"/>
                <a:gd name="connsiteY56" fmla="*/ 12768 h 194711"/>
                <a:gd name="connsiteX57" fmla="*/ 103495 w 195028"/>
                <a:gd name="connsiteY57" fmla="*/ 12768 h 194711"/>
                <a:gd name="connsiteX58" fmla="*/ 128416 w 195028"/>
                <a:gd name="connsiteY58" fmla="*/ 135341 h 194711"/>
                <a:gd name="connsiteX59" fmla="*/ 148864 w 195028"/>
                <a:gd name="connsiteY59" fmla="*/ 87461 h 194711"/>
                <a:gd name="connsiteX60" fmla="*/ 150781 w 195028"/>
                <a:gd name="connsiteY60" fmla="*/ 77246 h 194711"/>
                <a:gd name="connsiteX61" fmla="*/ 167394 w 195028"/>
                <a:gd name="connsiteY61" fmla="*/ 143640 h 194711"/>
                <a:gd name="connsiteX62" fmla="*/ 127777 w 195028"/>
                <a:gd name="connsiteY62" fmla="*/ 143640 h 194711"/>
                <a:gd name="connsiteX63" fmla="*/ 128416 w 195028"/>
                <a:gd name="connsiteY63" fmla="*/ 135341 h 194711"/>
                <a:gd name="connsiteX64" fmla="*/ 128416 w 195028"/>
                <a:gd name="connsiteY64" fmla="*/ 135341 h 19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5028" h="194711">
                  <a:moveTo>
                    <a:pt x="190398" y="182582"/>
                  </a:moveTo>
                  <a:cubicBezTo>
                    <a:pt x="180174" y="178113"/>
                    <a:pt x="169311" y="175560"/>
                    <a:pt x="158449" y="174921"/>
                  </a:cubicBezTo>
                  <a:cubicBezTo>
                    <a:pt x="152698" y="174921"/>
                    <a:pt x="146308" y="173644"/>
                    <a:pt x="140557" y="171729"/>
                  </a:cubicBezTo>
                  <a:cubicBezTo>
                    <a:pt x="136084" y="167899"/>
                    <a:pt x="132250" y="162792"/>
                    <a:pt x="130972" y="156408"/>
                  </a:cubicBezTo>
                  <a:lnTo>
                    <a:pt x="180174" y="156408"/>
                  </a:lnTo>
                  <a:cubicBezTo>
                    <a:pt x="182730" y="156408"/>
                    <a:pt x="185286" y="154492"/>
                    <a:pt x="185925" y="152577"/>
                  </a:cubicBezTo>
                  <a:cubicBezTo>
                    <a:pt x="187203" y="150024"/>
                    <a:pt x="186564" y="147470"/>
                    <a:pt x="184647" y="145555"/>
                  </a:cubicBezTo>
                  <a:cubicBezTo>
                    <a:pt x="184647" y="145555"/>
                    <a:pt x="163561" y="124488"/>
                    <a:pt x="163561" y="67032"/>
                  </a:cubicBezTo>
                  <a:cubicBezTo>
                    <a:pt x="165478" y="37666"/>
                    <a:pt x="146308" y="10215"/>
                    <a:pt x="117553" y="3192"/>
                  </a:cubicBezTo>
                  <a:cubicBezTo>
                    <a:pt x="111163" y="1277"/>
                    <a:pt x="104134" y="0"/>
                    <a:pt x="97105" y="0"/>
                  </a:cubicBezTo>
                  <a:lnTo>
                    <a:pt x="95827" y="0"/>
                  </a:lnTo>
                  <a:cubicBezTo>
                    <a:pt x="88159" y="0"/>
                    <a:pt x="80491" y="1277"/>
                    <a:pt x="72823" y="3831"/>
                  </a:cubicBezTo>
                  <a:cubicBezTo>
                    <a:pt x="45347" y="12130"/>
                    <a:pt x="26816" y="38304"/>
                    <a:pt x="29372" y="67032"/>
                  </a:cubicBezTo>
                  <a:cubicBezTo>
                    <a:pt x="29372" y="125126"/>
                    <a:pt x="8924" y="145555"/>
                    <a:pt x="8924" y="145555"/>
                  </a:cubicBezTo>
                  <a:cubicBezTo>
                    <a:pt x="7007" y="147470"/>
                    <a:pt x="6368" y="150024"/>
                    <a:pt x="7646" y="152577"/>
                  </a:cubicBezTo>
                  <a:cubicBezTo>
                    <a:pt x="8285" y="155131"/>
                    <a:pt x="10841" y="156408"/>
                    <a:pt x="13397" y="156408"/>
                  </a:cubicBezTo>
                  <a:lnTo>
                    <a:pt x="61960" y="156408"/>
                  </a:lnTo>
                  <a:cubicBezTo>
                    <a:pt x="60682" y="162153"/>
                    <a:pt x="57487" y="167899"/>
                    <a:pt x="52376" y="171729"/>
                  </a:cubicBezTo>
                  <a:cubicBezTo>
                    <a:pt x="46625" y="173644"/>
                    <a:pt x="40874" y="174921"/>
                    <a:pt x="35123" y="174921"/>
                  </a:cubicBezTo>
                  <a:cubicBezTo>
                    <a:pt x="24260" y="175560"/>
                    <a:pt x="13397" y="178113"/>
                    <a:pt x="3173" y="182582"/>
                  </a:cubicBezTo>
                  <a:cubicBezTo>
                    <a:pt x="-22" y="184497"/>
                    <a:pt x="-661" y="188327"/>
                    <a:pt x="617" y="191519"/>
                  </a:cubicBezTo>
                  <a:cubicBezTo>
                    <a:pt x="1895" y="194711"/>
                    <a:pt x="6368" y="195350"/>
                    <a:pt x="9563" y="194073"/>
                  </a:cubicBezTo>
                  <a:cubicBezTo>
                    <a:pt x="18509" y="190243"/>
                    <a:pt x="27455" y="188327"/>
                    <a:pt x="37040" y="187689"/>
                  </a:cubicBezTo>
                  <a:cubicBezTo>
                    <a:pt x="44708" y="187689"/>
                    <a:pt x="52376" y="185774"/>
                    <a:pt x="59405" y="183220"/>
                  </a:cubicBezTo>
                  <a:cubicBezTo>
                    <a:pt x="70267" y="177475"/>
                    <a:pt x="75380" y="159600"/>
                    <a:pt x="76657" y="154492"/>
                  </a:cubicBezTo>
                  <a:cubicBezTo>
                    <a:pt x="77935" y="149385"/>
                    <a:pt x="80491" y="135341"/>
                    <a:pt x="76018" y="128957"/>
                  </a:cubicBezTo>
                  <a:cubicBezTo>
                    <a:pt x="67072" y="115550"/>
                    <a:pt x="60682" y="100867"/>
                    <a:pt x="57487" y="84907"/>
                  </a:cubicBezTo>
                  <a:cubicBezTo>
                    <a:pt x="56210" y="78523"/>
                    <a:pt x="54932" y="71501"/>
                    <a:pt x="54292" y="64478"/>
                  </a:cubicBezTo>
                  <a:cubicBezTo>
                    <a:pt x="72823" y="61286"/>
                    <a:pt x="89437" y="49795"/>
                    <a:pt x="97744" y="32559"/>
                  </a:cubicBezTo>
                  <a:cubicBezTo>
                    <a:pt x="106051" y="49795"/>
                    <a:pt x="122665" y="61286"/>
                    <a:pt x="141196" y="64478"/>
                  </a:cubicBezTo>
                  <a:cubicBezTo>
                    <a:pt x="140557" y="71501"/>
                    <a:pt x="139918" y="77885"/>
                    <a:pt x="138001" y="84907"/>
                  </a:cubicBezTo>
                  <a:cubicBezTo>
                    <a:pt x="134167" y="100229"/>
                    <a:pt x="127777" y="115550"/>
                    <a:pt x="119470" y="128957"/>
                  </a:cubicBezTo>
                  <a:cubicBezTo>
                    <a:pt x="114997" y="135979"/>
                    <a:pt x="117553" y="149385"/>
                    <a:pt x="118831" y="154492"/>
                  </a:cubicBezTo>
                  <a:cubicBezTo>
                    <a:pt x="120109" y="159600"/>
                    <a:pt x="125221" y="177475"/>
                    <a:pt x="136084" y="183220"/>
                  </a:cubicBezTo>
                  <a:cubicBezTo>
                    <a:pt x="143113" y="185774"/>
                    <a:pt x="150781" y="187689"/>
                    <a:pt x="158449" y="187689"/>
                  </a:cubicBezTo>
                  <a:cubicBezTo>
                    <a:pt x="168034" y="187689"/>
                    <a:pt x="176979" y="190243"/>
                    <a:pt x="185925" y="194073"/>
                  </a:cubicBezTo>
                  <a:cubicBezTo>
                    <a:pt x="186564" y="194711"/>
                    <a:pt x="187842" y="194711"/>
                    <a:pt x="189120" y="194711"/>
                  </a:cubicBezTo>
                  <a:cubicBezTo>
                    <a:pt x="191676" y="194711"/>
                    <a:pt x="193593" y="193435"/>
                    <a:pt x="194871" y="191519"/>
                  </a:cubicBezTo>
                  <a:cubicBezTo>
                    <a:pt x="195510" y="188327"/>
                    <a:pt x="194232" y="184497"/>
                    <a:pt x="190398" y="182582"/>
                  </a:cubicBezTo>
                  <a:cubicBezTo>
                    <a:pt x="191037" y="182582"/>
                    <a:pt x="191037" y="182582"/>
                    <a:pt x="190398" y="182582"/>
                  </a:cubicBezTo>
                  <a:close/>
                  <a:moveTo>
                    <a:pt x="64517" y="135341"/>
                  </a:moveTo>
                  <a:cubicBezTo>
                    <a:pt x="65155" y="137894"/>
                    <a:pt x="65155" y="141086"/>
                    <a:pt x="64517" y="143640"/>
                  </a:cubicBezTo>
                  <a:lnTo>
                    <a:pt x="25538" y="143640"/>
                  </a:lnTo>
                  <a:cubicBezTo>
                    <a:pt x="31928" y="132149"/>
                    <a:pt x="40235" y="111720"/>
                    <a:pt x="42152" y="78523"/>
                  </a:cubicBezTo>
                  <a:cubicBezTo>
                    <a:pt x="42791" y="81715"/>
                    <a:pt x="43430" y="84269"/>
                    <a:pt x="44069" y="87461"/>
                  </a:cubicBezTo>
                  <a:cubicBezTo>
                    <a:pt x="47264" y="104697"/>
                    <a:pt x="54932" y="120657"/>
                    <a:pt x="64517" y="135341"/>
                  </a:cubicBezTo>
                  <a:close/>
                  <a:moveTo>
                    <a:pt x="53015" y="51710"/>
                  </a:moveTo>
                  <a:cubicBezTo>
                    <a:pt x="53654" y="42135"/>
                    <a:pt x="56849" y="33197"/>
                    <a:pt x="62600" y="26175"/>
                  </a:cubicBezTo>
                  <a:cubicBezTo>
                    <a:pt x="66433" y="21706"/>
                    <a:pt x="72185" y="17875"/>
                    <a:pt x="77935" y="15960"/>
                  </a:cubicBezTo>
                  <a:cubicBezTo>
                    <a:pt x="81769" y="14683"/>
                    <a:pt x="86242" y="14045"/>
                    <a:pt x="90076" y="13407"/>
                  </a:cubicBezTo>
                  <a:cubicBezTo>
                    <a:pt x="86881" y="31920"/>
                    <a:pt x="72185" y="47242"/>
                    <a:pt x="53015" y="51710"/>
                  </a:cubicBezTo>
                  <a:lnTo>
                    <a:pt x="53015" y="51710"/>
                  </a:lnTo>
                  <a:close/>
                  <a:moveTo>
                    <a:pt x="103495" y="12768"/>
                  </a:moveTo>
                  <a:cubicBezTo>
                    <a:pt x="107329" y="13407"/>
                    <a:pt x="110524" y="14045"/>
                    <a:pt x="113719" y="14683"/>
                  </a:cubicBezTo>
                  <a:cubicBezTo>
                    <a:pt x="120109" y="16599"/>
                    <a:pt x="125860" y="20429"/>
                    <a:pt x="130333" y="25536"/>
                  </a:cubicBezTo>
                  <a:cubicBezTo>
                    <a:pt x="136084" y="32559"/>
                    <a:pt x="139279" y="41496"/>
                    <a:pt x="139918" y="51072"/>
                  </a:cubicBezTo>
                  <a:cubicBezTo>
                    <a:pt x="120748" y="47242"/>
                    <a:pt x="106690" y="31920"/>
                    <a:pt x="103495" y="12768"/>
                  </a:cubicBezTo>
                  <a:lnTo>
                    <a:pt x="103495" y="12768"/>
                  </a:lnTo>
                  <a:close/>
                  <a:moveTo>
                    <a:pt x="128416" y="135341"/>
                  </a:moveTo>
                  <a:cubicBezTo>
                    <a:pt x="138001" y="120657"/>
                    <a:pt x="145030" y="104059"/>
                    <a:pt x="148864" y="87461"/>
                  </a:cubicBezTo>
                  <a:cubicBezTo>
                    <a:pt x="149503" y="84269"/>
                    <a:pt x="150141" y="80438"/>
                    <a:pt x="150781" y="77246"/>
                  </a:cubicBezTo>
                  <a:cubicBezTo>
                    <a:pt x="152059" y="111081"/>
                    <a:pt x="160366" y="132149"/>
                    <a:pt x="167394" y="143640"/>
                  </a:cubicBezTo>
                  <a:lnTo>
                    <a:pt x="127777" y="143640"/>
                  </a:lnTo>
                  <a:cubicBezTo>
                    <a:pt x="127777" y="141086"/>
                    <a:pt x="127777" y="137894"/>
                    <a:pt x="128416" y="135341"/>
                  </a:cubicBezTo>
                  <a:lnTo>
                    <a:pt x="128416" y="135341"/>
                  </a:lnTo>
                  <a:close/>
                </a:path>
              </a:pathLst>
            </a:custGeom>
            <a:grpFill/>
            <a:ln w="6390" cap="flat">
              <a:noFill/>
              <a:prstDash val="solid"/>
              <a:miter/>
            </a:ln>
          </p:spPr>
          <p:txBody>
            <a:bodyPr rtlCol="0" anchor="ctr"/>
            <a:lstStyle/>
            <a:p>
              <a:endParaRPr lang="en-US" sz="900"/>
            </a:p>
          </p:txBody>
        </p:sp>
      </p:grpSp>
      <p:grpSp>
        <p:nvGrpSpPr>
          <p:cNvPr id="12" name="Group 11">
            <a:extLst>
              <a:ext uri="{FF2B5EF4-FFF2-40B4-BE49-F238E27FC236}">
                <a16:creationId xmlns:a16="http://schemas.microsoft.com/office/drawing/2014/main" id="{51DDBCBB-893E-2A19-1857-CDC43F311AB2}"/>
              </a:ext>
            </a:extLst>
          </p:cNvPr>
          <p:cNvGrpSpPr/>
          <p:nvPr/>
        </p:nvGrpSpPr>
        <p:grpSpPr>
          <a:xfrm>
            <a:off x="2707040" y="2089899"/>
            <a:ext cx="607263" cy="606690"/>
            <a:chOff x="2276671" y="2638634"/>
            <a:chExt cx="607263" cy="606690"/>
          </a:xfrm>
        </p:grpSpPr>
        <p:grpSp>
          <p:nvGrpSpPr>
            <p:cNvPr id="13" name="Graphic 4">
              <a:extLst>
                <a:ext uri="{FF2B5EF4-FFF2-40B4-BE49-F238E27FC236}">
                  <a16:creationId xmlns:a16="http://schemas.microsoft.com/office/drawing/2014/main" id="{67E33D36-677D-790C-2FA5-0FF47EA53DAE}"/>
                </a:ext>
              </a:extLst>
            </p:cNvPr>
            <p:cNvGrpSpPr/>
            <p:nvPr/>
          </p:nvGrpSpPr>
          <p:grpSpPr>
            <a:xfrm>
              <a:off x="2276671" y="2638634"/>
              <a:ext cx="607263" cy="606690"/>
              <a:chOff x="5708130" y="3339623"/>
              <a:chExt cx="362313" cy="361971"/>
            </a:xfrm>
            <a:solidFill>
              <a:schemeClr val="accent3"/>
            </a:solidFill>
          </p:grpSpPr>
          <p:sp>
            <p:nvSpPr>
              <p:cNvPr id="17" name="Graphic 4">
                <a:extLst>
                  <a:ext uri="{FF2B5EF4-FFF2-40B4-BE49-F238E27FC236}">
                    <a16:creationId xmlns:a16="http://schemas.microsoft.com/office/drawing/2014/main" id="{B3BF545B-A30B-8BE4-1A16-78B17A8C2A28}"/>
                  </a:ext>
                </a:extLst>
              </p:cNvPr>
              <p:cNvSpPr/>
              <p:nvPr/>
            </p:nvSpPr>
            <p:spPr>
              <a:xfrm>
                <a:off x="5708130"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49530" y="273873"/>
                      <a:pt x="274767" y="349204"/>
                      <a:pt x="181474" y="349204"/>
                    </a:cubicBezTo>
                    <a:lnTo>
                      <a:pt x="181474" y="349204"/>
                    </a:lnTo>
                    <a:close/>
                  </a:path>
                </a:pathLst>
              </a:custGeom>
              <a:grpFill/>
              <a:ln w="6390" cap="flat">
                <a:noFill/>
                <a:prstDash val="solid"/>
                <a:miter/>
              </a:ln>
            </p:spPr>
            <p:txBody>
              <a:bodyPr rtlCol="0" anchor="ctr"/>
              <a:lstStyle/>
              <a:p>
                <a:endParaRPr lang="en-US" sz="900"/>
              </a:p>
            </p:txBody>
          </p:sp>
          <p:sp>
            <p:nvSpPr>
              <p:cNvPr id="18" name="Graphic 4">
                <a:extLst>
                  <a:ext uri="{FF2B5EF4-FFF2-40B4-BE49-F238E27FC236}">
                    <a16:creationId xmlns:a16="http://schemas.microsoft.com/office/drawing/2014/main" id="{D31E7C5E-B74C-CC88-BD40-6BB18AE74E9F}"/>
                  </a:ext>
                </a:extLst>
              </p:cNvPr>
              <p:cNvSpPr/>
              <p:nvPr/>
            </p:nvSpPr>
            <p:spPr>
              <a:xfrm>
                <a:off x="5778420" y="3414316"/>
                <a:ext cx="223193" cy="214047"/>
              </a:xfrm>
              <a:custGeom>
                <a:avLst/>
                <a:gdLst>
                  <a:gd name="connsiteX0" fmla="*/ 115658 w 223193"/>
                  <a:gd name="connsiteY0" fmla="*/ 0 h 214047"/>
                  <a:gd name="connsiteX1" fmla="*/ 109268 w 223193"/>
                  <a:gd name="connsiteY1" fmla="*/ 6384 h 214047"/>
                  <a:gd name="connsiteX2" fmla="*/ 115658 w 223193"/>
                  <a:gd name="connsiteY2" fmla="*/ 12768 h 214047"/>
                  <a:gd name="connsiteX3" fmla="*/ 210229 w 223193"/>
                  <a:gd name="connsiteY3" fmla="*/ 106613 h 214047"/>
                  <a:gd name="connsiteX4" fmla="*/ 116297 w 223193"/>
                  <a:gd name="connsiteY4" fmla="*/ 201095 h 214047"/>
                  <a:gd name="connsiteX5" fmla="*/ 21726 w 223193"/>
                  <a:gd name="connsiteY5" fmla="*/ 107251 h 214047"/>
                  <a:gd name="connsiteX6" fmla="*/ 45369 w 223193"/>
                  <a:gd name="connsiteY6" fmla="*/ 44688 h 214047"/>
                  <a:gd name="connsiteX7" fmla="*/ 45369 w 223193"/>
                  <a:gd name="connsiteY7" fmla="*/ 79800 h 214047"/>
                  <a:gd name="connsiteX8" fmla="*/ 51759 w 223193"/>
                  <a:gd name="connsiteY8" fmla="*/ 86184 h 214047"/>
                  <a:gd name="connsiteX9" fmla="*/ 58149 w 223193"/>
                  <a:gd name="connsiteY9" fmla="*/ 79800 h 214047"/>
                  <a:gd name="connsiteX10" fmla="*/ 58149 w 223193"/>
                  <a:gd name="connsiteY10" fmla="*/ 34473 h 214047"/>
                  <a:gd name="connsiteX11" fmla="*/ 51759 w 223193"/>
                  <a:gd name="connsiteY11" fmla="*/ 28089 h 214047"/>
                  <a:gd name="connsiteX12" fmla="*/ 6390 w 223193"/>
                  <a:gd name="connsiteY12" fmla="*/ 28089 h 214047"/>
                  <a:gd name="connsiteX13" fmla="*/ 0 w 223193"/>
                  <a:gd name="connsiteY13" fmla="*/ 34473 h 214047"/>
                  <a:gd name="connsiteX14" fmla="*/ 6390 w 223193"/>
                  <a:gd name="connsiteY14" fmla="*/ 40857 h 214047"/>
                  <a:gd name="connsiteX15" fmla="*/ 32589 w 223193"/>
                  <a:gd name="connsiteY15" fmla="*/ 40857 h 214047"/>
                  <a:gd name="connsiteX16" fmla="*/ 49841 w 223193"/>
                  <a:gd name="connsiteY16" fmla="*/ 190881 h 214047"/>
                  <a:gd name="connsiteX17" fmla="*/ 200005 w 223193"/>
                  <a:gd name="connsiteY17" fmla="*/ 173644 h 214047"/>
                  <a:gd name="connsiteX18" fmla="*/ 182752 w 223193"/>
                  <a:gd name="connsiteY18" fmla="*/ 23621 h 214047"/>
                  <a:gd name="connsiteX19" fmla="*/ 115658 w 223193"/>
                  <a:gd name="connsiteY19" fmla="*/ 0 h 214047"/>
                  <a:gd name="connsiteX20" fmla="*/ 115658 w 223193"/>
                  <a:gd name="connsiteY20" fmla="*/ 0 h 21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3193" h="214047">
                    <a:moveTo>
                      <a:pt x="115658" y="0"/>
                    </a:moveTo>
                    <a:cubicBezTo>
                      <a:pt x="111824" y="0"/>
                      <a:pt x="109268" y="2553"/>
                      <a:pt x="109268" y="6384"/>
                    </a:cubicBezTo>
                    <a:cubicBezTo>
                      <a:pt x="109268" y="10214"/>
                      <a:pt x="111824" y="12768"/>
                      <a:pt x="115658" y="12768"/>
                    </a:cubicBezTo>
                    <a:cubicBezTo>
                      <a:pt x="167416" y="12768"/>
                      <a:pt x="210229" y="54264"/>
                      <a:pt x="210229" y="106613"/>
                    </a:cubicBezTo>
                    <a:cubicBezTo>
                      <a:pt x="210229" y="158323"/>
                      <a:pt x="168695" y="201095"/>
                      <a:pt x="116297" y="201095"/>
                    </a:cubicBezTo>
                    <a:cubicBezTo>
                      <a:pt x="64539" y="201095"/>
                      <a:pt x="21726" y="159600"/>
                      <a:pt x="21726" y="107251"/>
                    </a:cubicBezTo>
                    <a:cubicBezTo>
                      <a:pt x="21726" y="84269"/>
                      <a:pt x="30033" y="61925"/>
                      <a:pt x="45369" y="44688"/>
                    </a:cubicBezTo>
                    <a:lnTo>
                      <a:pt x="45369" y="79800"/>
                    </a:lnTo>
                    <a:cubicBezTo>
                      <a:pt x="45369" y="83630"/>
                      <a:pt x="47925" y="86184"/>
                      <a:pt x="51759" y="86184"/>
                    </a:cubicBezTo>
                    <a:cubicBezTo>
                      <a:pt x="55593" y="86184"/>
                      <a:pt x="58149" y="83630"/>
                      <a:pt x="58149" y="79800"/>
                    </a:cubicBezTo>
                    <a:lnTo>
                      <a:pt x="58149" y="34473"/>
                    </a:lnTo>
                    <a:cubicBezTo>
                      <a:pt x="58149" y="30643"/>
                      <a:pt x="55593" y="28089"/>
                      <a:pt x="51759" y="28089"/>
                    </a:cubicBezTo>
                    <a:lnTo>
                      <a:pt x="6390" y="28089"/>
                    </a:lnTo>
                    <a:cubicBezTo>
                      <a:pt x="2556" y="28089"/>
                      <a:pt x="0" y="30643"/>
                      <a:pt x="0" y="34473"/>
                    </a:cubicBezTo>
                    <a:cubicBezTo>
                      <a:pt x="0" y="38304"/>
                      <a:pt x="2556" y="40857"/>
                      <a:pt x="6390" y="40857"/>
                    </a:cubicBezTo>
                    <a:lnTo>
                      <a:pt x="32589" y="40857"/>
                    </a:lnTo>
                    <a:cubicBezTo>
                      <a:pt x="-3834" y="86822"/>
                      <a:pt x="3195" y="153854"/>
                      <a:pt x="49841" y="190881"/>
                    </a:cubicBezTo>
                    <a:cubicBezTo>
                      <a:pt x="95849" y="227270"/>
                      <a:pt x="162943" y="220247"/>
                      <a:pt x="200005" y="173644"/>
                    </a:cubicBezTo>
                    <a:cubicBezTo>
                      <a:pt x="236428" y="127680"/>
                      <a:pt x="229399" y="60648"/>
                      <a:pt x="182752" y="23621"/>
                    </a:cubicBezTo>
                    <a:cubicBezTo>
                      <a:pt x="163583" y="8299"/>
                      <a:pt x="139940" y="0"/>
                      <a:pt x="115658" y="0"/>
                    </a:cubicBezTo>
                    <a:lnTo>
                      <a:pt x="115658" y="0"/>
                    </a:lnTo>
                    <a:close/>
                  </a:path>
                </a:pathLst>
              </a:custGeom>
              <a:grpFill/>
              <a:ln w="6390" cap="flat">
                <a:noFill/>
                <a:prstDash val="solid"/>
                <a:miter/>
              </a:ln>
            </p:spPr>
            <p:txBody>
              <a:bodyPr rtlCol="0" anchor="ctr"/>
              <a:lstStyle/>
              <a:p>
                <a:endParaRPr lang="en-US" sz="900"/>
              </a:p>
            </p:txBody>
          </p:sp>
        </p:grpSp>
        <p:grpSp>
          <p:nvGrpSpPr>
            <p:cNvPr id="14" name="Group 13">
              <a:extLst>
                <a:ext uri="{FF2B5EF4-FFF2-40B4-BE49-F238E27FC236}">
                  <a16:creationId xmlns:a16="http://schemas.microsoft.com/office/drawing/2014/main" id="{99E0445A-8DFB-C055-B08C-049FB3D41276}"/>
                </a:ext>
              </a:extLst>
            </p:cNvPr>
            <p:cNvGrpSpPr/>
            <p:nvPr/>
          </p:nvGrpSpPr>
          <p:grpSpPr>
            <a:xfrm>
              <a:off x="2499340" y="2864644"/>
              <a:ext cx="161925" cy="160399"/>
              <a:chOff x="4848003" y="3169824"/>
              <a:chExt cx="224286" cy="223279"/>
            </a:xfrm>
            <a:solidFill>
              <a:schemeClr val="accent3"/>
            </a:solidFill>
          </p:grpSpPr>
          <p:sp>
            <p:nvSpPr>
              <p:cNvPr id="15" name="Graphic 1100">
                <a:extLst>
                  <a:ext uri="{FF2B5EF4-FFF2-40B4-BE49-F238E27FC236}">
                    <a16:creationId xmlns:a16="http://schemas.microsoft.com/office/drawing/2014/main" id="{1D49EECA-5585-7012-84D8-CB85794B1B0F}"/>
                  </a:ext>
                </a:extLst>
              </p:cNvPr>
              <p:cNvSpPr/>
              <p:nvPr/>
            </p:nvSpPr>
            <p:spPr>
              <a:xfrm>
                <a:off x="4848003" y="3169824"/>
                <a:ext cx="224286" cy="223279"/>
              </a:xfrm>
              <a:custGeom>
                <a:avLst/>
                <a:gdLst>
                  <a:gd name="connsiteX0" fmla="*/ 221092 w 224286"/>
                  <a:gd name="connsiteY0" fmla="*/ 87301 h 223279"/>
                  <a:gd name="connsiteX1" fmla="*/ 214702 w 224286"/>
                  <a:gd name="connsiteY1" fmla="*/ 82194 h 223279"/>
                  <a:gd name="connsiteX2" fmla="*/ 196171 w 224286"/>
                  <a:gd name="connsiteY2" fmla="*/ 82194 h 223279"/>
                  <a:gd name="connsiteX3" fmla="*/ 191698 w 224286"/>
                  <a:gd name="connsiteY3" fmla="*/ 71979 h 223279"/>
                  <a:gd name="connsiteX4" fmla="*/ 204478 w 224286"/>
                  <a:gd name="connsiteY4" fmla="*/ 58573 h 223279"/>
                  <a:gd name="connsiteX5" fmla="*/ 205117 w 224286"/>
                  <a:gd name="connsiteY5" fmla="*/ 50912 h 223279"/>
                  <a:gd name="connsiteX6" fmla="*/ 201283 w 224286"/>
                  <a:gd name="connsiteY6" fmla="*/ 45167 h 223279"/>
                  <a:gd name="connsiteX7" fmla="*/ 201283 w 224286"/>
                  <a:gd name="connsiteY7" fmla="*/ 45167 h 223279"/>
                  <a:gd name="connsiteX8" fmla="*/ 200644 w 224286"/>
                  <a:gd name="connsiteY8" fmla="*/ 44528 h 223279"/>
                  <a:gd name="connsiteX9" fmla="*/ 200005 w 224286"/>
                  <a:gd name="connsiteY9" fmla="*/ 43890 h 223279"/>
                  <a:gd name="connsiteX10" fmla="*/ 179557 w 224286"/>
                  <a:gd name="connsiteY10" fmla="*/ 22823 h 223279"/>
                  <a:gd name="connsiteX11" fmla="*/ 178279 w 224286"/>
                  <a:gd name="connsiteY11" fmla="*/ 22184 h 223279"/>
                  <a:gd name="connsiteX12" fmla="*/ 177641 w 224286"/>
                  <a:gd name="connsiteY12" fmla="*/ 21546 h 223279"/>
                  <a:gd name="connsiteX13" fmla="*/ 177641 w 224286"/>
                  <a:gd name="connsiteY13" fmla="*/ 21546 h 223279"/>
                  <a:gd name="connsiteX14" fmla="*/ 171889 w 224286"/>
                  <a:gd name="connsiteY14" fmla="*/ 17716 h 223279"/>
                  <a:gd name="connsiteX15" fmla="*/ 164221 w 224286"/>
                  <a:gd name="connsiteY15" fmla="*/ 18354 h 223279"/>
                  <a:gd name="connsiteX16" fmla="*/ 151441 w 224286"/>
                  <a:gd name="connsiteY16" fmla="*/ 31760 h 223279"/>
                  <a:gd name="connsiteX17" fmla="*/ 141217 w 224286"/>
                  <a:gd name="connsiteY17" fmla="*/ 27930 h 223279"/>
                  <a:gd name="connsiteX18" fmla="*/ 141217 w 224286"/>
                  <a:gd name="connsiteY18" fmla="*/ 8778 h 223279"/>
                  <a:gd name="connsiteX19" fmla="*/ 136106 w 224286"/>
                  <a:gd name="connsiteY19" fmla="*/ 2394 h 223279"/>
                  <a:gd name="connsiteX20" fmla="*/ 120770 w 224286"/>
                  <a:gd name="connsiteY20" fmla="*/ 479 h 223279"/>
                  <a:gd name="connsiteX21" fmla="*/ 102878 w 224286"/>
                  <a:gd name="connsiteY21" fmla="*/ 479 h 223279"/>
                  <a:gd name="connsiteX22" fmla="*/ 87542 w 224286"/>
                  <a:gd name="connsiteY22" fmla="*/ 2394 h 223279"/>
                  <a:gd name="connsiteX23" fmla="*/ 82430 w 224286"/>
                  <a:gd name="connsiteY23" fmla="*/ 8778 h 223279"/>
                  <a:gd name="connsiteX24" fmla="*/ 82430 w 224286"/>
                  <a:gd name="connsiteY24" fmla="*/ 27930 h 223279"/>
                  <a:gd name="connsiteX25" fmla="*/ 72207 w 224286"/>
                  <a:gd name="connsiteY25" fmla="*/ 32399 h 223279"/>
                  <a:gd name="connsiteX26" fmla="*/ 58787 w 224286"/>
                  <a:gd name="connsiteY26" fmla="*/ 18992 h 223279"/>
                  <a:gd name="connsiteX27" fmla="*/ 51119 w 224286"/>
                  <a:gd name="connsiteY27" fmla="*/ 18354 h 223279"/>
                  <a:gd name="connsiteX28" fmla="*/ 44730 w 224286"/>
                  <a:gd name="connsiteY28" fmla="*/ 22823 h 223279"/>
                  <a:gd name="connsiteX29" fmla="*/ 22365 w 224286"/>
                  <a:gd name="connsiteY29" fmla="*/ 45167 h 223279"/>
                  <a:gd name="connsiteX30" fmla="*/ 17892 w 224286"/>
                  <a:gd name="connsiteY30" fmla="*/ 51551 h 223279"/>
                  <a:gd name="connsiteX31" fmla="*/ 18531 w 224286"/>
                  <a:gd name="connsiteY31" fmla="*/ 59211 h 223279"/>
                  <a:gd name="connsiteX32" fmla="*/ 31950 w 224286"/>
                  <a:gd name="connsiteY32" fmla="*/ 71979 h 223279"/>
                  <a:gd name="connsiteX33" fmla="*/ 27477 w 224286"/>
                  <a:gd name="connsiteY33" fmla="*/ 82194 h 223279"/>
                  <a:gd name="connsiteX34" fmla="*/ 8946 w 224286"/>
                  <a:gd name="connsiteY34" fmla="*/ 82194 h 223279"/>
                  <a:gd name="connsiteX35" fmla="*/ 2556 w 224286"/>
                  <a:gd name="connsiteY35" fmla="*/ 87301 h 223279"/>
                  <a:gd name="connsiteX36" fmla="*/ 639 w 224286"/>
                  <a:gd name="connsiteY36" fmla="*/ 102622 h 223279"/>
                  <a:gd name="connsiteX37" fmla="*/ 0 w 224286"/>
                  <a:gd name="connsiteY37" fmla="*/ 111560 h 223279"/>
                  <a:gd name="connsiteX38" fmla="*/ 639 w 224286"/>
                  <a:gd name="connsiteY38" fmla="*/ 120498 h 223279"/>
                  <a:gd name="connsiteX39" fmla="*/ 2556 w 224286"/>
                  <a:gd name="connsiteY39" fmla="*/ 135819 h 223279"/>
                  <a:gd name="connsiteX40" fmla="*/ 8946 w 224286"/>
                  <a:gd name="connsiteY40" fmla="*/ 140926 h 223279"/>
                  <a:gd name="connsiteX41" fmla="*/ 27477 w 224286"/>
                  <a:gd name="connsiteY41" fmla="*/ 140926 h 223279"/>
                  <a:gd name="connsiteX42" fmla="*/ 31950 w 224286"/>
                  <a:gd name="connsiteY42" fmla="*/ 151141 h 223279"/>
                  <a:gd name="connsiteX43" fmla="*/ 18531 w 224286"/>
                  <a:gd name="connsiteY43" fmla="*/ 164547 h 223279"/>
                  <a:gd name="connsiteX44" fmla="*/ 17892 w 224286"/>
                  <a:gd name="connsiteY44" fmla="*/ 172208 h 223279"/>
                  <a:gd name="connsiteX45" fmla="*/ 21726 w 224286"/>
                  <a:gd name="connsiteY45" fmla="*/ 177954 h 223279"/>
                  <a:gd name="connsiteX46" fmla="*/ 21726 w 224286"/>
                  <a:gd name="connsiteY46" fmla="*/ 177954 h 223279"/>
                  <a:gd name="connsiteX47" fmla="*/ 22365 w 224286"/>
                  <a:gd name="connsiteY47" fmla="*/ 178592 h 223279"/>
                  <a:gd name="connsiteX48" fmla="*/ 23004 w 224286"/>
                  <a:gd name="connsiteY48" fmla="*/ 179230 h 223279"/>
                  <a:gd name="connsiteX49" fmla="*/ 44091 w 224286"/>
                  <a:gd name="connsiteY49" fmla="*/ 200297 h 223279"/>
                  <a:gd name="connsiteX50" fmla="*/ 44730 w 224286"/>
                  <a:gd name="connsiteY50" fmla="*/ 200936 h 223279"/>
                  <a:gd name="connsiteX51" fmla="*/ 46007 w 224286"/>
                  <a:gd name="connsiteY51" fmla="*/ 201574 h 223279"/>
                  <a:gd name="connsiteX52" fmla="*/ 46007 w 224286"/>
                  <a:gd name="connsiteY52" fmla="*/ 201574 h 223279"/>
                  <a:gd name="connsiteX53" fmla="*/ 51758 w 224286"/>
                  <a:gd name="connsiteY53" fmla="*/ 205405 h 223279"/>
                  <a:gd name="connsiteX54" fmla="*/ 59427 w 224286"/>
                  <a:gd name="connsiteY54" fmla="*/ 204766 h 223279"/>
                  <a:gd name="connsiteX55" fmla="*/ 72845 w 224286"/>
                  <a:gd name="connsiteY55" fmla="*/ 191360 h 223279"/>
                  <a:gd name="connsiteX56" fmla="*/ 83069 w 224286"/>
                  <a:gd name="connsiteY56" fmla="*/ 195829 h 223279"/>
                  <a:gd name="connsiteX57" fmla="*/ 83069 w 224286"/>
                  <a:gd name="connsiteY57" fmla="*/ 214342 h 223279"/>
                  <a:gd name="connsiteX58" fmla="*/ 88181 w 224286"/>
                  <a:gd name="connsiteY58" fmla="*/ 220726 h 223279"/>
                  <a:gd name="connsiteX59" fmla="*/ 103517 w 224286"/>
                  <a:gd name="connsiteY59" fmla="*/ 222641 h 223279"/>
                  <a:gd name="connsiteX60" fmla="*/ 112463 w 224286"/>
                  <a:gd name="connsiteY60" fmla="*/ 223280 h 223279"/>
                  <a:gd name="connsiteX61" fmla="*/ 121409 w 224286"/>
                  <a:gd name="connsiteY61" fmla="*/ 222641 h 223279"/>
                  <a:gd name="connsiteX62" fmla="*/ 136745 w 224286"/>
                  <a:gd name="connsiteY62" fmla="*/ 220726 h 223279"/>
                  <a:gd name="connsiteX63" fmla="*/ 141856 w 224286"/>
                  <a:gd name="connsiteY63" fmla="*/ 214342 h 223279"/>
                  <a:gd name="connsiteX64" fmla="*/ 141856 w 224286"/>
                  <a:gd name="connsiteY64" fmla="*/ 195829 h 223279"/>
                  <a:gd name="connsiteX65" fmla="*/ 152081 w 224286"/>
                  <a:gd name="connsiteY65" fmla="*/ 191360 h 223279"/>
                  <a:gd name="connsiteX66" fmla="*/ 164861 w 224286"/>
                  <a:gd name="connsiteY66" fmla="*/ 204766 h 223279"/>
                  <a:gd name="connsiteX67" fmla="*/ 172528 w 224286"/>
                  <a:gd name="connsiteY67" fmla="*/ 205405 h 223279"/>
                  <a:gd name="connsiteX68" fmla="*/ 178918 w 224286"/>
                  <a:gd name="connsiteY68" fmla="*/ 200936 h 223279"/>
                  <a:gd name="connsiteX69" fmla="*/ 201283 w 224286"/>
                  <a:gd name="connsiteY69" fmla="*/ 178592 h 223279"/>
                  <a:gd name="connsiteX70" fmla="*/ 205756 w 224286"/>
                  <a:gd name="connsiteY70" fmla="*/ 172208 h 223279"/>
                  <a:gd name="connsiteX71" fmla="*/ 205117 w 224286"/>
                  <a:gd name="connsiteY71" fmla="*/ 164547 h 223279"/>
                  <a:gd name="connsiteX72" fmla="*/ 192337 w 224286"/>
                  <a:gd name="connsiteY72" fmla="*/ 151141 h 223279"/>
                  <a:gd name="connsiteX73" fmla="*/ 196810 w 224286"/>
                  <a:gd name="connsiteY73" fmla="*/ 140926 h 223279"/>
                  <a:gd name="connsiteX74" fmla="*/ 215341 w 224286"/>
                  <a:gd name="connsiteY74" fmla="*/ 140926 h 223279"/>
                  <a:gd name="connsiteX75" fmla="*/ 221731 w 224286"/>
                  <a:gd name="connsiteY75" fmla="*/ 135819 h 223279"/>
                  <a:gd name="connsiteX76" fmla="*/ 223648 w 224286"/>
                  <a:gd name="connsiteY76" fmla="*/ 120498 h 223279"/>
                  <a:gd name="connsiteX77" fmla="*/ 224287 w 224286"/>
                  <a:gd name="connsiteY77" fmla="*/ 111560 h 223279"/>
                  <a:gd name="connsiteX78" fmla="*/ 223648 w 224286"/>
                  <a:gd name="connsiteY78" fmla="*/ 102622 h 223279"/>
                  <a:gd name="connsiteX79" fmla="*/ 221092 w 224286"/>
                  <a:gd name="connsiteY79" fmla="*/ 87301 h 223279"/>
                  <a:gd name="connsiteX80" fmla="*/ 210229 w 224286"/>
                  <a:gd name="connsiteY80" fmla="*/ 119221 h 223279"/>
                  <a:gd name="connsiteX81" fmla="*/ 208951 w 224286"/>
                  <a:gd name="connsiteY81" fmla="*/ 127520 h 223279"/>
                  <a:gd name="connsiteX82" fmla="*/ 191059 w 224286"/>
                  <a:gd name="connsiteY82" fmla="*/ 127520 h 223279"/>
                  <a:gd name="connsiteX83" fmla="*/ 184669 w 224286"/>
                  <a:gd name="connsiteY83" fmla="*/ 131989 h 223279"/>
                  <a:gd name="connsiteX84" fmla="*/ 178279 w 224286"/>
                  <a:gd name="connsiteY84" fmla="*/ 148587 h 223279"/>
                  <a:gd name="connsiteX85" fmla="*/ 179557 w 224286"/>
                  <a:gd name="connsiteY85" fmla="*/ 156248 h 223279"/>
                  <a:gd name="connsiteX86" fmla="*/ 192337 w 224286"/>
                  <a:gd name="connsiteY86" fmla="*/ 169016 h 223279"/>
                  <a:gd name="connsiteX87" fmla="*/ 191059 w 224286"/>
                  <a:gd name="connsiteY87" fmla="*/ 170931 h 223279"/>
                  <a:gd name="connsiteX88" fmla="*/ 171251 w 224286"/>
                  <a:gd name="connsiteY88" fmla="*/ 190721 h 223279"/>
                  <a:gd name="connsiteX89" fmla="*/ 169333 w 224286"/>
                  <a:gd name="connsiteY89" fmla="*/ 191998 h 223279"/>
                  <a:gd name="connsiteX90" fmla="*/ 156553 w 224286"/>
                  <a:gd name="connsiteY90" fmla="*/ 179230 h 223279"/>
                  <a:gd name="connsiteX91" fmla="*/ 148886 w 224286"/>
                  <a:gd name="connsiteY91" fmla="*/ 177954 h 223279"/>
                  <a:gd name="connsiteX92" fmla="*/ 132271 w 224286"/>
                  <a:gd name="connsiteY92" fmla="*/ 184337 h 223279"/>
                  <a:gd name="connsiteX93" fmla="*/ 127799 w 224286"/>
                  <a:gd name="connsiteY93" fmla="*/ 190721 h 223279"/>
                  <a:gd name="connsiteX94" fmla="*/ 127799 w 224286"/>
                  <a:gd name="connsiteY94" fmla="*/ 208597 h 223279"/>
                  <a:gd name="connsiteX95" fmla="*/ 119492 w 224286"/>
                  <a:gd name="connsiteY95" fmla="*/ 209873 h 223279"/>
                  <a:gd name="connsiteX96" fmla="*/ 103517 w 224286"/>
                  <a:gd name="connsiteY96" fmla="*/ 209873 h 223279"/>
                  <a:gd name="connsiteX97" fmla="*/ 95210 w 224286"/>
                  <a:gd name="connsiteY97" fmla="*/ 208597 h 223279"/>
                  <a:gd name="connsiteX98" fmla="*/ 95210 w 224286"/>
                  <a:gd name="connsiteY98" fmla="*/ 190721 h 223279"/>
                  <a:gd name="connsiteX99" fmla="*/ 90737 w 224286"/>
                  <a:gd name="connsiteY99" fmla="*/ 184337 h 223279"/>
                  <a:gd name="connsiteX100" fmla="*/ 74123 w 224286"/>
                  <a:gd name="connsiteY100" fmla="*/ 177954 h 223279"/>
                  <a:gd name="connsiteX101" fmla="*/ 66456 w 224286"/>
                  <a:gd name="connsiteY101" fmla="*/ 179230 h 223279"/>
                  <a:gd name="connsiteX102" fmla="*/ 53676 w 224286"/>
                  <a:gd name="connsiteY102" fmla="*/ 191998 h 223279"/>
                  <a:gd name="connsiteX103" fmla="*/ 53037 w 224286"/>
                  <a:gd name="connsiteY103" fmla="*/ 191360 h 223279"/>
                  <a:gd name="connsiteX104" fmla="*/ 52397 w 224286"/>
                  <a:gd name="connsiteY104" fmla="*/ 190721 h 223279"/>
                  <a:gd name="connsiteX105" fmla="*/ 51758 w 224286"/>
                  <a:gd name="connsiteY105" fmla="*/ 190083 h 223279"/>
                  <a:gd name="connsiteX106" fmla="*/ 51758 w 224286"/>
                  <a:gd name="connsiteY106" fmla="*/ 190083 h 223279"/>
                  <a:gd name="connsiteX107" fmla="*/ 33227 w 224286"/>
                  <a:gd name="connsiteY107" fmla="*/ 171570 h 223279"/>
                  <a:gd name="connsiteX108" fmla="*/ 33227 w 224286"/>
                  <a:gd name="connsiteY108" fmla="*/ 170931 h 223279"/>
                  <a:gd name="connsiteX109" fmla="*/ 32589 w 224286"/>
                  <a:gd name="connsiteY109" fmla="*/ 170293 h 223279"/>
                  <a:gd name="connsiteX110" fmla="*/ 31950 w 224286"/>
                  <a:gd name="connsiteY110" fmla="*/ 169016 h 223279"/>
                  <a:gd name="connsiteX111" fmla="*/ 31311 w 224286"/>
                  <a:gd name="connsiteY111" fmla="*/ 168378 h 223279"/>
                  <a:gd name="connsiteX112" fmla="*/ 44091 w 224286"/>
                  <a:gd name="connsiteY112" fmla="*/ 155610 h 223279"/>
                  <a:gd name="connsiteX113" fmla="*/ 45368 w 224286"/>
                  <a:gd name="connsiteY113" fmla="*/ 147949 h 223279"/>
                  <a:gd name="connsiteX114" fmla="*/ 38340 w 224286"/>
                  <a:gd name="connsiteY114" fmla="*/ 131350 h 223279"/>
                  <a:gd name="connsiteX115" fmla="*/ 31950 w 224286"/>
                  <a:gd name="connsiteY115" fmla="*/ 126882 h 223279"/>
                  <a:gd name="connsiteX116" fmla="*/ 14058 w 224286"/>
                  <a:gd name="connsiteY116" fmla="*/ 126882 h 223279"/>
                  <a:gd name="connsiteX117" fmla="*/ 12780 w 224286"/>
                  <a:gd name="connsiteY117" fmla="*/ 118582 h 223279"/>
                  <a:gd name="connsiteX118" fmla="*/ 12141 w 224286"/>
                  <a:gd name="connsiteY118" fmla="*/ 110922 h 223279"/>
                  <a:gd name="connsiteX119" fmla="*/ 12780 w 224286"/>
                  <a:gd name="connsiteY119" fmla="*/ 103261 h 223279"/>
                  <a:gd name="connsiteX120" fmla="*/ 14058 w 224286"/>
                  <a:gd name="connsiteY120" fmla="*/ 94962 h 223279"/>
                  <a:gd name="connsiteX121" fmla="*/ 31950 w 224286"/>
                  <a:gd name="connsiteY121" fmla="*/ 94962 h 223279"/>
                  <a:gd name="connsiteX122" fmla="*/ 38340 w 224286"/>
                  <a:gd name="connsiteY122" fmla="*/ 90493 h 223279"/>
                  <a:gd name="connsiteX123" fmla="*/ 45368 w 224286"/>
                  <a:gd name="connsiteY123" fmla="*/ 73894 h 223279"/>
                  <a:gd name="connsiteX124" fmla="*/ 44091 w 224286"/>
                  <a:gd name="connsiteY124" fmla="*/ 66234 h 223279"/>
                  <a:gd name="connsiteX125" fmla="*/ 31311 w 224286"/>
                  <a:gd name="connsiteY125" fmla="*/ 53466 h 223279"/>
                  <a:gd name="connsiteX126" fmla="*/ 32589 w 224286"/>
                  <a:gd name="connsiteY126" fmla="*/ 52189 h 223279"/>
                  <a:gd name="connsiteX127" fmla="*/ 52397 w 224286"/>
                  <a:gd name="connsiteY127" fmla="*/ 32399 h 223279"/>
                  <a:gd name="connsiteX128" fmla="*/ 54314 w 224286"/>
                  <a:gd name="connsiteY128" fmla="*/ 31122 h 223279"/>
                  <a:gd name="connsiteX129" fmla="*/ 67094 w 224286"/>
                  <a:gd name="connsiteY129" fmla="*/ 43890 h 223279"/>
                  <a:gd name="connsiteX130" fmla="*/ 74762 w 224286"/>
                  <a:gd name="connsiteY130" fmla="*/ 45167 h 223279"/>
                  <a:gd name="connsiteX131" fmla="*/ 91376 w 224286"/>
                  <a:gd name="connsiteY131" fmla="*/ 38144 h 223279"/>
                  <a:gd name="connsiteX132" fmla="*/ 95849 w 224286"/>
                  <a:gd name="connsiteY132" fmla="*/ 31760 h 223279"/>
                  <a:gd name="connsiteX133" fmla="*/ 95849 w 224286"/>
                  <a:gd name="connsiteY133" fmla="*/ 13885 h 223279"/>
                  <a:gd name="connsiteX134" fmla="*/ 104156 w 224286"/>
                  <a:gd name="connsiteY134" fmla="*/ 12608 h 223279"/>
                  <a:gd name="connsiteX135" fmla="*/ 120131 w 224286"/>
                  <a:gd name="connsiteY135" fmla="*/ 12608 h 223279"/>
                  <a:gd name="connsiteX136" fmla="*/ 128438 w 224286"/>
                  <a:gd name="connsiteY136" fmla="*/ 13885 h 223279"/>
                  <a:gd name="connsiteX137" fmla="*/ 128438 w 224286"/>
                  <a:gd name="connsiteY137" fmla="*/ 31760 h 223279"/>
                  <a:gd name="connsiteX138" fmla="*/ 132911 w 224286"/>
                  <a:gd name="connsiteY138" fmla="*/ 38144 h 223279"/>
                  <a:gd name="connsiteX139" fmla="*/ 149525 w 224286"/>
                  <a:gd name="connsiteY139" fmla="*/ 45167 h 223279"/>
                  <a:gd name="connsiteX140" fmla="*/ 157192 w 224286"/>
                  <a:gd name="connsiteY140" fmla="*/ 43890 h 223279"/>
                  <a:gd name="connsiteX141" fmla="*/ 169972 w 224286"/>
                  <a:gd name="connsiteY141" fmla="*/ 31122 h 223279"/>
                  <a:gd name="connsiteX142" fmla="*/ 170611 w 224286"/>
                  <a:gd name="connsiteY142" fmla="*/ 31760 h 223279"/>
                  <a:gd name="connsiteX143" fmla="*/ 171889 w 224286"/>
                  <a:gd name="connsiteY143" fmla="*/ 32399 h 223279"/>
                  <a:gd name="connsiteX144" fmla="*/ 172528 w 224286"/>
                  <a:gd name="connsiteY144" fmla="*/ 33037 h 223279"/>
                  <a:gd name="connsiteX145" fmla="*/ 173167 w 224286"/>
                  <a:gd name="connsiteY145" fmla="*/ 33037 h 223279"/>
                  <a:gd name="connsiteX146" fmla="*/ 191698 w 224286"/>
                  <a:gd name="connsiteY146" fmla="*/ 51551 h 223279"/>
                  <a:gd name="connsiteX147" fmla="*/ 191698 w 224286"/>
                  <a:gd name="connsiteY147" fmla="*/ 51551 h 223279"/>
                  <a:gd name="connsiteX148" fmla="*/ 192337 w 224286"/>
                  <a:gd name="connsiteY148" fmla="*/ 52189 h 223279"/>
                  <a:gd name="connsiteX149" fmla="*/ 192976 w 224286"/>
                  <a:gd name="connsiteY149" fmla="*/ 53466 h 223279"/>
                  <a:gd name="connsiteX150" fmla="*/ 193615 w 224286"/>
                  <a:gd name="connsiteY150" fmla="*/ 54104 h 223279"/>
                  <a:gd name="connsiteX151" fmla="*/ 180836 w 224286"/>
                  <a:gd name="connsiteY151" fmla="*/ 66872 h 223279"/>
                  <a:gd name="connsiteX152" fmla="*/ 179557 w 224286"/>
                  <a:gd name="connsiteY152" fmla="*/ 74533 h 223279"/>
                  <a:gd name="connsiteX153" fmla="*/ 185947 w 224286"/>
                  <a:gd name="connsiteY153" fmla="*/ 90493 h 223279"/>
                  <a:gd name="connsiteX154" fmla="*/ 192337 w 224286"/>
                  <a:gd name="connsiteY154" fmla="*/ 94962 h 223279"/>
                  <a:gd name="connsiteX155" fmla="*/ 210229 w 224286"/>
                  <a:gd name="connsiteY155" fmla="*/ 94962 h 223279"/>
                  <a:gd name="connsiteX156" fmla="*/ 211507 w 224286"/>
                  <a:gd name="connsiteY156" fmla="*/ 103261 h 223279"/>
                  <a:gd name="connsiteX157" fmla="*/ 211507 w 224286"/>
                  <a:gd name="connsiteY157" fmla="*/ 103261 h 223279"/>
                  <a:gd name="connsiteX158" fmla="*/ 212146 w 224286"/>
                  <a:gd name="connsiteY158" fmla="*/ 110922 h 223279"/>
                  <a:gd name="connsiteX159" fmla="*/ 210229 w 224286"/>
                  <a:gd name="connsiteY159" fmla="*/ 119221 h 223279"/>
                  <a:gd name="connsiteX160" fmla="*/ 210229 w 224286"/>
                  <a:gd name="connsiteY160" fmla="*/ 119221 h 22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224286" h="223279">
                    <a:moveTo>
                      <a:pt x="221092" y="87301"/>
                    </a:moveTo>
                    <a:cubicBezTo>
                      <a:pt x="220453" y="84109"/>
                      <a:pt x="217897" y="82194"/>
                      <a:pt x="214702" y="82194"/>
                    </a:cubicBezTo>
                    <a:lnTo>
                      <a:pt x="196171" y="82194"/>
                    </a:lnTo>
                    <a:cubicBezTo>
                      <a:pt x="194893" y="79002"/>
                      <a:pt x="193615" y="75171"/>
                      <a:pt x="191698" y="71979"/>
                    </a:cubicBezTo>
                    <a:lnTo>
                      <a:pt x="204478" y="58573"/>
                    </a:lnTo>
                    <a:cubicBezTo>
                      <a:pt x="206395" y="56658"/>
                      <a:pt x="207034" y="52827"/>
                      <a:pt x="205117" y="50912"/>
                    </a:cubicBezTo>
                    <a:cubicBezTo>
                      <a:pt x="203839" y="48997"/>
                      <a:pt x="202561" y="47082"/>
                      <a:pt x="201283" y="45167"/>
                    </a:cubicBezTo>
                    <a:lnTo>
                      <a:pt x="201283" y="45167"/>
                    </a:lnTo>
                    <a:cubicBezTo>
                      <a:pt x="201283" y="44528"/>
                      <a:pt x="200644" y="44528"/>
                      <a:pt x="200644" y="44528"/>
                    </a:cubicBezTo>
                    <a:cubicBezTo>
                      <a:pt x="200644" y="43890"/>
                      <a:pt x="200005" y="43890"/>
                      <a:pt x="200005" y="43890"/>
                    </a:cubicBezTo>
                    <a:cubicBezTo>
                      <a:pt x="194254" y="36229"/>
                      <a:pt x="187225" y="29207"/>
                      <a:pt x="179557" y="22823"/>
                    </a:cubicBezTo>
                    <a:lnTo>
                      <a:pt x="178279" y="22184"/>
                    </a:lnTo>
                    <a:lnTo>
                      <a:pt x="177641" y="21546"/>
                    </a:lnTo>
                    <a:lnTo>
                      <a:pt x="177641" y="21546"/>
                    </a:lnTo>
                    <a:cubicBezTo>
                      <a:pt x="175723" y="20269"/>
                      <a:pt x="173806" y="18992"/>
                      <a:pt x="171889" y="17716"/>
                    </a:cubicBezTo>
                    <a:cubicBezTo>
                      <a:pt x="169333" y="15800"/>
                      <a:pt x="166138" y="16439"/>
                      <a:pt x="164221" y="18354"/>
                    </a:cubicBezTo>
                    <a:lnTo>
                      <a:pt x="151441" y="31760"/>
                    </a:lnTo>
                    <a:cubicBezTo>
                      <a:pt x="148246" y="30483"/>
                      <a:pt x="144412" y="29207"/>
                      <a:pt x="141217" y="27930"/>
                    </a:cubicBezTo>
                    <a:lnTo>
                      <a:pt x="141217" y="8778"/>
                    </a:lnTo>
                    <a:cubicBezTo>
                      <a:pt x="141217" y="5586"/>
                      <a:pt x="139301" y="3032"/>
                      <a:pt x="136106" y="2394"/>
                    </a:cubicBezTo>
                    <a:cubicBezTo>
                      <a:pt x="130994" y="1117"/>
                      <a:pt x="125881" y="479"/>
                      <a:pt x="120770" y="479"/>
                    </a:cubicBezTo>
                    <a:cubicBezTo>
                      <a:pt x="115019" y="-160"/>
                      <a:pt x="109268" y="-160"/>
                      <a:pt x="102878" y="479"/>
                    </a:cubicBezTo>
                    <a:cubicBezTo>
                      <a:pt x="97766" y="1117"/>
                      <a:pt x="92654" y="1756"/>
                      <a:pt x="87542" y="2394"/>
                    </a:cubicBezTo>
                    <a:cubicBezTo>
                      <a:pt x="84347" y="3032"/>
                      <a:pt x="82430" y="5586"/>
                      <a:pt x="82430" y="8778"/>
                    </a:cubicBezTo>
                    <a:lnTo>
                      <a:pt x="82430" y="27930"/>
                    </a:lnTo>
                    <a:cubicBezTo>
                      <a:pt x="79235" y="29207"/>
                      <a:pt x="75402" y="30483"/>
                      <a:pt x="72207" y="32399"/>
                    </a:cubicBezTo>
                    <a:lnTo>
                      <a:pt x="58787" y="18992"/>
                    </a:lnTo>
                    <a:cubicBezTo>
                      <a:pt x="56871" y="17077"/>
                      <a:pt x="53676" y="16439"/>
                      <a:pt x="51119" y="18354"/>
                    </a:cubicBezTo>
                    <a:cubicBezTo>
                      <a:pt x="48563" y="19631"/>
                      <a:pt x="46647" y="21546"/>
                      <a:pt x="44730" y="22823"/>
                    </a:cubicBezTo>
                    <a:cubicBezTo>
                      <a:pt x="36422" y="29207"/>
                      <a:pt x="28755" y="36867"/>
                      <a:pt x="22365" y="45167"/>
                    </a:cubicBezTo>
                    <a:cubicBezTo>
                      <a:pt x="20447" y="47082"/>
                      <a:pt x="19170" y="49635"/>
                      <a:pt x="17892" y="51551"/>
                    </a:cubicBezTo>
                    <a:cubicBezTo>
                      <a:pt x="15975" y="54104"/>
                      <a:pt x="16614" y="57296"/>
                      <a:pt x="18531" y="59211"/>
                    </a:cubicBezTo>
                    <a:lnTo>
                      <a:pt x="31950" y="71979"/>
                    </a:lnTo>
                    <a:cubicBezTo>
                      <a:pt x="30032" y="75171"/>
                      <a:pt x="28755" y="78363"/>
                      <a:pt x="27477" y="82194"/>
                    </a:cubicBezTo>
                    <a:lnTo>
                      <a:pt x="8946" y="82194"/>
                    </a:lnTo>
                    <a:cubicBezTo>
                      <a:pt x="5751" y="82194"/>
                      <a:pt x="3195" y="84109"/>
                      <a:pt x="2556" y="87301"/>
                    </a:cubicBezTo>
                    <a:cubicBezTo>
                      <a:pt x="1278" y="92408"/>
                      <a:pt x="639" y="97515"/>
                      <a:pt x="639" y="102622"/>
                    </a:cubicBezTo>
                    <a:cubicBezTo>
                      <a:pt x="639" y="105814"/>
                      <a:pt x="0" y="108368"/>
                      <a:pt x="0" y="111560"/>
                    </a:cubicBezTo>
                    <a:cubicBezTo>
                      <a:pt x="0" y="114752"/>
                      <a:pt x="0" y="117306"/>
                      <a:pt x="639" y="120498"/>
                    </a:cubicBezTo>
                    <a:cubicBezTo>
                      <a:pt x="1278" y="125605"/>
                      <a:pt x="1917" y="130712"/>
                      <a:pt x="2556" y="135819"/>
                    </a:cubicBezTo>
                    <a:cubicBezTo>
                      <a:pt x="3195" y="139011"/>
                      <a:pt x="5751" y="140926"/>
                      <a:pt x="8946" y="140926"/>
                    </a:cubicBezTo>
                    <a:lnTo>
                      <a:pt x="27477" y="140926"/>
                    </a:lnTo>
                    <a:cubicBezTo>
                      <a:pt x="28755" y="144118"/>
                      <a:pt x="30032" y="147949"/>
                      <a:pt x="31950" y="151141"/>
                    </a:cubicBezTo>
                    <a:lnTo>
                      <a:pt x="18531" y="164547"/>
                    </a:lnTo>
                    <a:cubicBezTo>
                      <a:pt x="16614" y="166462"/>
                      <a:pt x="15975" y="170293"/>
                      <a:pt x="17892" y="172208"/>
                    </a:cubicBezTo>
                    <a:cubicBezTo>
                      <a:pt x="19170" y="174123"/>
                      <a:pt x="20447" y="176038"/>
                      <a:pt x="21726" y="177954"/>
                    </a:cubicBezTo>
                    <a:lnTo>
                      <a:pt x="21726" y="177954"/>
                    </a:lnTo>
                    <a:lnTo>
                      <a:pt x="22365" y="178592"/>
                    </a:lnTo>
                    <a:lnTo>
                      <a:pt x="23004" y="179230"/>
                    </a:lnTo>
                    <a:cubicBezTo>
                      <a:pt x="28755" y="186891"/>
                      <a:pt x="35783" y="193913"/>
                      <a:pt x="44091" y="200297"/>
                    </a:cubicBezTo>
                    <a:lnTo>
                      <a:pt x="44730" y="200936"/>
                    </a:lnTo>
                    <a:lnTo>
                      <a:pt x="46007" y="201574"/>
                    </a:lnTo>
                    <a:lnTo>
                      <a:pt x="46007" y="201574"/>
                    </a:lnTo>
                    <a:cubicBezTo>
                      <a:pt x="47925" y="202851"/>
                      <a:pt x="49842" y="204128"/>
                      <a:pt x="51758" y="205405"/>
                    </a:cubicBezTo>
                    <a:cubicBezTo>
                      <a:pt x="54314" y="207320"/>
                      <a:pt x="57509" y="206681"/>
                      <a:pt x="59427" y="204766"/>
                    </a:cubicBezTo>
                    <a:lnTo>
                      <a:pt x="72845" y="191360"/>
                    </a:lnTo>
                    <a:cubicBezTo>
                      <a:pt x="76040" y="193275"/>
                      <a:pt x="79235" y="194552"/>
                      <a:pt x="83069" y="195829"/>
                    </a:cubicBezTo>
                    <a:lnTo>
                      <a:pt x="83069" y="214342"/>
                    </a:lnTo>
                    <a:cubicBezTo>
                      <a:pt x="83069" y="217534"/>
                      <a:pt x="84986" y="220088"/>
                      <a:pt x="88181" y="220726"/>
                    </a:cubicBezTo>
                    <a:cubicBezTo>
                      <a:pt x="93293" y="222003"/>
                      <a:pt x="98405" y="222641"/>
                      <a:pt x="103517" y="222641"/>
                    </a:cubicBezTo>
                    <a:cubicBezTo>
                      <a:pt x="106712" y="222641"/>
                      <a:pt x="109268" y="223280"/>
                      <a:pt x="112463" y="223280"/>
                    </a:cubicBezTo>
                    <a:cubicBezTo>
                      <a:pt x="115658" y="223280"/>
                      <a:pt x="118214" y="223280"/>
                      <a:pt x="121409" y="222641"/>
                    </a:cubicBezTo>
                    <a:cubicBezTo>
                      <a:pt x="126521" y="222003"/>
                      <a:pt x="131633" y="221365"/>
                      <a:pt x="136745" y="220726"/>
                    </a:cubicBezTo>
                    <a:cubicBezTo>
                      <a:pt x="139940" y="220088"/>
                      <a:pt x="141856" y="217534"/>
                      <a:pt x="141856" y="214342"/>
                    </a:cubicBezTo>
                    <a:lnTo>
                      <a:pt x="141856" y="195829"/>
                    </a:lnTo>
                    <a:cubicBezTo>
                      <a:pt x="145051" y="194552"/>
                      <a:pt x="148886" y="193275"/>
                      <a:pt x="152081" y="191360"/>
                    </a:cubicBezTo>
                    <a:lnTo>
                      <a:pt x="164861" y="204766"/>
                    </a:lnTo>
                    <a:cubicBezTo>
                      <a:pt x="166777" y="206681"/>
                      <a:pt x="170611" y="207320"/>
                      <a:pt x="172528" y="205405"/>
                    </a:cubicBezTo>
                    <a:cubicBezTo>
                      <a:pt x="174446" y="204128"/>
                      <a:pt x="177001" y="202213"/>
                      <a:pt x="178918" y="200936"/>
                    </a:cubicBezTo>
                    <a:cubicBezTo>
                      <a:pt x="187225" y="194552"/>
                      <a:pt x="194893" y="186891"/>
                      <a:pt x="201283" y="178592"/>
                    </a:cubicBezTo>
                    <a:cubicBezTo>
                      <a:pt x="202561" y="176677"/>
                      <a:pt x="204478" y="174123"/>
                      <a:pt x="205756" y="172208"/>
                    </a:cubicBezTo>
                    <a:cubicBezTo>
                      <a:pt x="207673" y="169654"/>
                      <a:pt x="207034" y="166462"/>
                      <a:pt x="205117" y="164547"/>
                    </a:cubicBezTo>
                    <a:lnTo>
                      <a:pt x="192337" y="151141"/>
                    </a:lnTo>
                    <a:cubicBezTo>
                      <a:pt x="193615" y="147949"/>
                      <a:pt x="195532" y="144757"/>
                      <a:pt x="196810" y="140926"/>
                    </a:cubicBezTo>
                    <a:lnTo>
                      <a:pt x="215341" y="140926"/>
                    </a:lnTo>
                    <a:cubicBezTo>
                      <a:pt x="218536" y="140926"/>
                      <a:pt x="221092" y="139011"/>
                      <a:pt x="221731" y="135819"/>
                    </a:cubicBezTo>
                    <a:cubicBezTo>
                      <a:pt x="223009" y="130712"/>
                      <a:pt x="223648" y="125605"/>
                      <a:pt x="223648" y="120498"/>
                    </a:cubicBezTo>
                    <a:cubicBezTo>
                      <a:pt x="223648" y="117306"/>
                      <a:pt x="224287" y="114752"/>
                      <a:pt x="224287" y="111560"/>
                    </a:cubicBezTo>
                    <a:cubicBezTo>
                      <a:pt x="224287" y="108368"/>
                      <a:pt x="224287" y="105814"/>
                      <a:pt x="223648" y="102622"/>
                    </a:cubicBezTo>
                    <a:cubicBezTo>
                      <a:pt x="223009" y="97515"/>
                      <a:pt x="221731" y="92408"/>
                      <a:pt x="221092" y="87301"/>
                    </a:cubicBezTo>
                    <a:close/>
                    <a:moveTo>
                      <a:pt x="210229" y="119221"/>
                    </a:moveTo>
                    <a:cubicBezTo>
                      <a:pt x="210229" y="121774"/>
                      <a:pt x="209590" y="124966"/>
                      <a:pt x="208951" y="127520"/>
                    </a:cubicBezTo>
                    <a:lnTo>
                      <a:pt x="191059" y="127520"/>
                    </a:lnTo>
                    <a:cubicBezTo>
                      <a:pt x="187864" y="127520"/>
                      <a:pt x="185308" y="129435"/>
                      <a:pt x="184669" y="131989"/>
                    </a:cubicBezTo>
                    <a:cubicBezTo>
                      <a:pt x="183391" y="137734"/>
                      <a:pt x="180836" y="142842"/>
                      <a:pt x="178279" y="148587"/>
                    </a:cubicBezTo>
                    <a:cubicBezTo>
                      <a:pt x="177001" y="151141"/>
                      <a:pt x="177001" y="154333"/>
                      <a:pt x="179557" y="156248"/>
                    </a:cubicBezTo>
                    <a:lnTo>
                      <a:pt x="192337" y="169016"/>
                    </a:lnTo>
                    <a:lnTo>
                      <a:pt x="191059" y="170931"/>
                    </a:lnTo>
                    <a:cubicBezTo>
                      <a:pt x="185308" y="178592"/>
                      <a:pt x="178918" y="184976"/>
                      <a:pt x="171251" y="190721"/>
                    </a:cubicBezTo>
                    <a:lnTo>
                      <a:pt x="169333" y="191998"/>
                    </a:lnTo>
                    <a:lnTo>
                      <a:pt x="156553" y="179230"/>
                    </a:lnTo>
                    <a:cubicBezTo>
                      <a:pt x="154636" y="177315"/>
                      <a:pt x="151441" y="176677"/>
                      <a:pt x="148886" y="177954"/>
                    </a:cubicBezTo>
                    <a:cubicBezTo>
                      <a:pt x="143774" y="180507"/>
                      <a:pt x="138022" y="183061"/>
                      <a:pt x="132271" y="184337"/>
                    </a:cubicBezTo>
                    <a:cubicBezTo>
                      <a:pt x="129716" y="184976"/>
                      <a:pt x="127799" y="187529"/>
                      <a:pt x="127799" y="190721"/>
                    </a:cubicBezTo>
                    <a:lnTo>
                      <a:pt x="127799" y="208597"/>
                    </a:lnTo>
                    <a:cubicBezTo>
                      <a:pt x="125243" y="209235"/>
                      <a:pt x="122048" y="209235"/>
                      <a:pt x="119492" y="209873"/>
                    </a:cubicBezTo>
                    <a:cubicBezTo>
                      <a:pt x="114380" y="210512"/>
                      <a:pt x="109268" y="210512"/>
                      <a:pt x="103517" y="209873"/>
                    </a:cubicBezTo>
                    <a:cubicBezTo>
                      <a:pt x="100961" y="209873"/>
                      <a:pt x="97766" y="209235"/>
                      <a:pt x="95210" y="208597"/>
                    </a:cubicBezTo>
                    <a:lnTo>
                      <a:pt x="95210" y="190721"/>
                    </a:lnTo>
                    <a:cubicBezTo>
                      <a:pt x="95210" y="187529"/>
                      <a:pt x="93293" y="184976"/>
                      <a:pt x="90737" y="184337"/>
                    </a:cubicBezTo>
                    <a:cubicBezTo>
                      <a:pt x="84986" y="182422"/>
                      <a:pt x="79235" y="180507"/>
                      <a:pt x="74123" y="177954"/>
                    </a:cubicBezTo>
                    <a:cubicBezTo>
                      <a:pt x="71567" y="176677"/>
                      <a:pt x="68372" y="176677"/>
                      <a:pt x="66456" y="179230"/>
                    </a:cubicBezTo>
                    <a:lnTo>
                      <a:pt x="53676" y="191998"/>
                    </a:lnTo>
                    <a:lnTo>
                      <a:pt x="53037" y="191360"/>
                    </a:lnTo>
                    <a:lnTo>
                      <a:pt x="52397" y="190721"/>
                    </a:lnTo>
                    <a:lnTo>
                      <a:pt x="51758" y="190083"/>
                    </a:lnTo>
                    <a:lnTo>
                      <a:pt x="51758" y="190083"/>
                    </a:lnTo>
                    <a:cubicBezTo>
                      <a:pt x="44730" y="184976"/>
                      <a:pt x="38340" y="178592"/>
                      <a:pt x="33227" y="171570"/>
                    </a:cubicBezTo>
                    <a:lnTo>
                      <a:pt x="33227" y="170931"/>
                    </a:lnTo>
                    <a:lnTo>
                      <a:pt x="32589" y="170293"/>
                    </a:lnTo>
                    <a:lnTo>
                      <a:pt x="31950" y="169016"/>
                    </a:lnTo>
                    <a:lnTo>
                      <a:pt x="31311" y="168378"/>
                    </a:lnTo>
                    <a:lnTo>
                      <a:pt x="44091" y="155610"/>
                    </a:lnTo>
                    <a:cubicBezTo>
                      <a:pt x="46007" y="153694"/>
                      <a:pt x="46647" y="150502"/>
                      <a:pt x="45368" y="147949"/>
                    </a:cubicBezTo>
                    <a:cubicBezTo>
                      <a:pt x="42812" y="142842"/>
                      <a:pt x="40257" y="137096"/>
                      <a:pt x="38340" y="131350"/>
                    </a:cubicBezTo>
                    <a:cubicBezTo>
                      <a:pt x="37701" y="128797"/>
                      <a:pt x="35145" y="126882"/>
                      <a:pt x="31950" y="126882"/>
                    </a:cubicBezTo>
                    <a:lnTo>
                      <a:pt x="14058" y="126882"/>
                    </a:lnTo>
                    <a:cubicBezTo>
                      <a:pt x="13419" y="124328"/>
                      <a:pt x="13419" y="121136"/>
                      <a:pt x="12780" y="118582"/>
                    </a:cubicBezTo>
                    <a:cubicBezTo>
                      <a:pt x="12141" y="116029"/>
                      <a:pt x="12141" y="113475"/>
                      <a:pt x="12141" y="110922"/>
                    </a:cubicBezTo>
                    <a:cubicBezTo>
                      <a:pt x="12141" y="108368"/>
                      <a:pt x="12141" y="105814"/>
                      <a:pt x="12780" y="103261"/>
                    </a:cubicBezTo>
                    <a:cubicBezTo>
                      <a:pt x="13419" y="100707"/>
                      <a:pt x="13419" y="97515"/>
                      <a:pt x="14058" y="94962"/>
                    </a:cubicBezTo>
                    <a:lnTo>
                      <a:pt x="31950" y="94962"/>
                    </a:lnTo>
                    <a:cubicBezTo>
                      <a:pt x="35145" y="94962"/>
                      <a:pt x="37701" y="93046"/>
                      <a:pt x="38340" y="90493"/>
                    </a:cubicBezTo>
                    <a:cubicBezTo>
                      <a:pt x="40257" y="84747"/>
                      <a:pt x="42173" y="79002"/>
                      <a:pt x="45368" y="73894"/>
                    </a:cubicBezTo>
                    <a:cubicBezTo>
                      <a:pt x="46647" y="71341"/>
                      <a:pt x="46647" y="68149"/>
                      <a:pt x="44091" y="66234"/>
                    </a:cubicBezTo>
                    <a:lnTo>
                      <a:pt x="31311" y="53466"/>
                    </a:lnTo>
                    <a:lnTo>
                      <a:pt x="32589" y="52189"/>
                    </a:lnTo>
                    <a:cubicBezTo>
                      <a:pt x="38340" y="44528"/>
                      <a:pt x="44730" y="38144"/>
                      <a:pt x="52397" y="32399"/>
                    </a:cubicBezTo>
                    <a:lnTo>
                      <a:pt x="54314" y="31122"/>
                    </a:lnTo>
                    <a:lnTo>
                      <a:pt x="67094" y="43890"/>
                    </a:lnTo>
                    <a:cubicBezTo>
                      <a:pt x="69012" y="45805"/>
                      <a:pt x="72207" y="46443"/>
                      <a:pt x="74762" y="45167"/>
                    </a:cubicBezTo>
                    <a:cubicBezTo>
                      <a:pt x="79874" y="41975"/>
                      <a:pt x="85625" y="40059"/>
                      <a:pt x="91376" y="38144"/>
                    </a:cubicBezTo>
                    <a:cubicBezTo>
                      <a:pt x="93932" y="37506"/>
                      <a:pt x="95849" y="34952"/>
                      <a:pt x="95849" y="31760"/>
                    </a:cubicBezTo>
                    <a:lnTo>
                      <a:pt x="95849" y="13885"/>
                    </a:lnTo>
                    <a:cubicBezTo>
                      <a:pt x="98405" y="13247"/>
                      <a:pt x="101600" y="13247"/>
                      <a:pt x="104156" y="12608"/>
                    </a:cubicBezTo>
                    <a:cubicBezTo>
                      <a:pt x="109268" y="11970"/>
                      <a:pt x="114380" y="11970"/>
                      <a:pt x="120131" y="12608"/>
                    </a:cubicBezTo>
                    <a:cubicBezTo>
                      <a:pt x="122686" y="12608"/>
                      <a:pt x="125881" y="13247"/>
                      <a:pt x="128438" y="13885"/>
                    </a:cubicBezTo>
                    <a:lnTo>
                      <a:pt x="128438" y="31760"/>
                    </a:lnTo>
                    <a:cubicBezTo>
                      <a:pt x="128438" y="34952"/>
                      <a:pt x="130355" y="37506"/>
                      <a:pt x="132911" y="38144"/>
                    </a:cubicBezTo>
                    <a:cubicBezTo>
                      <a:pt x="138661" y="40059"/>
                      <a:pt x="144412" y="41975"/>
                      <a:pt x="149525" y="45167"/>
                    </a:cubicBezTo>
                    <a:cubicBezTo>
                      <a:pt x="152081" y="46443"/>
                      <a:pt x="155276" y="45805"/>
                      <a:pt x="157192" y="43890"/>
                    </a:cubicBezTo>
                    <a:lnTo>
                      <a:pt x="169972" y="31122"/>
                    </a:lnTo>
                    <a:lnTo>
                      <a:pt x="170611" y="31760"/>
                    </a:lnTo>
                    <a:lnTo>
                      <a:pt x="171889" y="32399"/>
                    </a:lnTo>
                    <a:lnTo>
                      <a:pt x="172528" y="33037"/>
                    </a:lnTo>
                    <a:lnTo>
                      <a:pt x="173167" y="33037"/>
                    </a:lnTo>
                    <a:cubicBezTo>
                      <a:pt x="180196" y="38144"/>
                      <a:pt x="186586" y="44528"/>
                      <a:pt x="191698" y="51551"/>
                    </a:cubicBezTo>
                    <a:lnTo>
                      <a:pt x="191698" y="51551"/>
                    </a:lnTo>
                    <a:lnTo>
                      <a:pt x="192337" y="52189"/>
                    </a:lnTo>
                    <a:lnTo>
                      <a:pt x="192976" y="53466"/>
                    </a:lnTo>
                    <a:lnTo>
                      <a:pt x="193615" y="54104"/>
                    </a:lnTo>
                    <a:lnTo>
                      <a:pt x="180836" y="66872"/>
                    </a:lnTo>
                    <a:cubicBezTo>
                      <a:pt x="178918" y="68787"/>
                      <a:pt x="178279" y="71979"/>
                      <a:pt x="179557" y="74533"/>
                    </a:cubicBezTo>
                    <a:cubicBezTo>
                      <a:pt x="182113" y="79640"/>
                      <a:pt x="184669" y="85386"/>
                      <a:pt x="185947" y="90493"/>
                    </a:cubicBezTo>
                    <a:cubicBezTo>
                      <a:pt x="186586" y="93046"/>
                      <a:pt x="189142" y="94962"/>
                      <a:pt x="192337" y="94962"/>
                    </a:cubicBezTo>
                    <a:lnTo>
                      <a:pt x="210229" y="94962"/>
                    </a:lnTo>
                    <a:cubicBezTo>
                      <a:pt x="210868" y="97515"/>
                      <a:pt x="210868" y="100707"/>
                      <a:pt x="211507" y="103261"/>
                    </a:cubicBezTo>
                    <a:lnTo>
                      <a:pt x="211507" y="103261"/>
                    </a:lnTo>
                    <a:cubicBezTo>
                      <a:pt x="211507" y="105814"/>
                      <a:pt x="212146" y="108368"/>
                      <a:pt x="212146" y="110922"/>
                    </a:cubicBezTo>
                    <a:cubicBezTo>
                      <a:pt x="212146" y="113475"/>
                      <a:pt x="210868" y="116667"/>
                      <a:pt x="210229" y="119221"/>
                    </a:cubicBezTo>
                    <a:lnTo>
                      <a:pt x="210229" y="119221"/>
                    </a:lnTo>
                    <a:close/>
                  </a:path>
                </a:pathLst>
              </a:custGeom>
              <a:grpFill/>
              <a:ln w="6390" cap="flat">
                <a:noFill/>
                <a:prstDash val="solid"/>
                <a:miter/>
              </a:ln>
            </p:spPr>
            <p:txBody>
              <a:bodyPr rtlCol="0" anchor="ctr"/>
              <a:lstStyle/>
              <a:p>
                <a:endParaRPr lang="en-US" sz="900"/>
              </a:p>
            </p:txBody>
          </p:sp>
          <p:sp>
            <p:nvSpPr>
              <p:cNvPr id="16" name="Graphic 1100">
                <a:extLst>
                  <a:ext uri="{FF2B5EF4-FFF2-40B4-BE49-F238E27FC236}">
                    <a16:creationId xmlns:a16="http://schemas.microsoft.com/office/drawing/2014/main" id="{7E87BDF5-F793-240E-67B3-C0EB86C9D006}"/>
                  </a:ext>
                </a:extLst>
              </p:cNvPr>
              <p:cNvSpPr/>
              <p:nvPr/>
            </p:nvSpPr>
            <p:spPr>
              <a:xfrm>
                <a:off x="4915737" y="3236696"/>
                <a:ext cx="88181" cy="88098"/>
              </a:xfrm>
              <a:custGeom>
                <a:avLst/>
                <a:gdLst>
                  <a:gd name="connsiteX0" fmla="*/ 44091 w 88181"/>
                  <a:gd name="connsiteY0" fmla="*/ 0 h 88098"/>
                  <a:gd name="connsiteX1" fmla="*/ 0 w 88181"/>
                  <a:gd name="connsiteY1" fmla="*/ 44049 h 88098"/>
                  <a:gd name="connsiteX2" fmla="*/ 44091 w 88181"/>
                  <a:gd name="connsiteY2" fmla="*/ 88099 h 88098"/>
                  <a:gd name="connsiteX3" fmla="*/ 88181 w 88181"/>
                  <a:gd name="connsiteY3" fmla="*/ 44049 h 88098"/>
                  <a:gd name="connsiteX4" fmla="*/ 88181 w 88181"/>
                  <a:gd name="connsiteY4" fmla="*/ 44049 h 88098"/>
                  <a:gd name="connsiteX5" fmla="*/ 44091 w 88181"/>
                  <a:gd name="connsiteY5" fmla="*/ 0 h 88098"/>
                  <a:gd name="connsiteX6" fmla="*/ 44091 w 88181"/>
                  <a:gd name="connsiteY6" fmla="*/ 75331 h 88098"/>
                  <a:gd name="connsiteX7" fmla="*/ 12780 w 88181"/>
                  <a:gd name="connsiteY7" fmla="*/ 44049 h 88098"/>
                  <a:gd name="connsiteX8" fmla="*/ 44091 w 88181"/>
                  <a:gd name="connsiteY8" fmla="*/ 12768 h 88098"/>
                  <a:gd name="connsiteX9" fmla="*/ 75402 w 88181"/>
                  <a:gd name="connsiteY9" fmla="*/ 44049 h 88098"/>
                  <a:gd name="connsiteX10" fmla="*/ 75402 w 88181"/>
                  <a:gd name="connsiteY10" fmla="*/ 44049 h 88098"/>
                  <a:gd name="connsiteX11" fmla="*/ 44091 w 88181"/>
                  <a:gd name="connsiteY11" fmla="*/ 75331 h 88098"/>
                  <a:gd name="connsiteX12" fmla="*/ 44091 w 88181"/>
                  <a:gd name="connsiteY12" fmla="*/ 75331 h 8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181" h="88098">
                    <a:moveTo>
                      <a:pt x="44091" y="0"/>
                    </a:moveTo>
                    <a:cubicBezTo>
                      <a:pt x="19809" y="0"/>
                      <a:pt x="0" y="19790"/>
                      <a:pt x="0" y="44049"/>
                    </a:cubicBezTo>
                    <a:cubicBezTo>
                      <a:pt x="0" y="68308"/>
                      <a:pt x="19809" y="88099"/>
                      <a:pt x="44091" y="88099"/>
                    </a:cubicBezTo>
                    <a:cubicBezTo>
                      <a:pt x="68373" y="88099"/>
                      <a:pt x="88181" y="68308"/>
                      <a:pt x="88181" y="44049"/>
                    </a:cubicBezTo>
                    <a:cubicBezTo>
                      <a:pt x="88181" y="44049"/>
                      <a:pt x="88181" y="44049"/>
                      <a:pt x="88181" y="44049"/>
                    </a:cubicBezTo>
                    <a:cubicBezTo>
                      <a:pt x="88181" y="19790"/>
                      <a:pt x="68373" y="638"/>
                      <a:pt x="44091" y="0"/>
                    </a:cubicBezTo>
                    <a:close/>
                    <a:moveTo>
                      <a:pt x="44091" y="75331"/>
                    </a:moveTo>
                    <a:cubicBezTo>
                      <a:pt x="26838" y="75331"/>
                      <a:pt x="12780" y="61286"/>
                      <a:pt x="12780" y="44049"/>
                    </a:cubicBezTo>
                    <a:cubicBezTo>
                      <a:pt x="12780" y="26813"/>
                      <a:pt x="26838" y="12768"/>
                      <a:pt x="44091" y="12768"/>
                    </a:cubicBezTo>
                    <a:cubicBezTo>
                      <a:pt x="61343" y="12768"/>
                      <a:pt x="75402" y="26813"/>
                      <a:pt x="75402" y="44049"/>
                    </a:cubicBezTo>
                    <a:cubicBezTo>
                      <a:pt x="75402" y="44049"/>
                      <a:pt x="75402" y="44049"/>
                      <a:pt x="75402" y="44049"/>
                    </a:cubicBezTo>
                    <a:cubicBezTo>
                      <a:pt x="75402" y="61286"/>
                      <a:pt x="61343" y="75331"/>
                      <a:pt x="44091" y="75331"/>
                    </a:cubicBezTo>
                    <a:lnTo>
                      <a:pt x="44091" y="75331"/>
                    </a:lnTo>
                    <a:close/>
                  </a:path>
                </a:pathLst>
              </a:custGeom>
              <a:grpFill/>
              <a:ln w="6390" cap="flat">
                <a:noFill/>
                <a:prstDash val="solid"/>
                <a:miter/>
              </a:ln>
            </p:spPr>
            <p:txBody>
              <a:bodyPr rtlCol="0" anchor="ctr"/>
              <a:lstStyle/>
              <a:p>
                <a:endParaRPr lang="en-US" sz="900"/>
              </a:p>
            </p:txBody>
          </p:sp>
        </p:grpSp>
      </p:grpSp>
      <p:pic>
        <p:nvPicPr>
          <p:cNvPr id="19" name="Picture 2" descr="ChatGPT Logo PNG Vector (PDF) Free Download">
            <a:extLst>
              <a:ext uri="{FF2B5EF4-FFF2-40B4-BE49-F238E27FC236}">
                <a16:creationId xmlns:a16="http://schemas.microsoft.com/office/drawing/2014/main" id="{BB1CB61C-B94D-A87E-E179-8EE8CE8F2B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5288" y="2085510"/>
            <a:ext cx="607263" cy="61546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aphic 4">
            <a:extLst>
              <a:ext uri="{FF2B5EF4-FFF2-40B4-BE49-F238E27FC236}">
                <a16:creationId xmlns:a16="http://schemas.microsoft.com/office/drawing/2014/main" id="{27A9BCE4-AA0B-DB7F-71B4-710538B0A3CD}"/>
              </a:ext>
            </a:extLst>
          </p:cNvPr>
          <p:cNvGrpSpPr>
            <a:grpSpLocks noChangeAspect="1"/>
          </p:cNvGrpSpPr>
          <p:nvPr/>
        </p:nvGrpSpPr>
        <p:grpSpPr>
          <a:xfrm>
            <a:off x="5423535" y="2089899"/>
            <a:ext cx="607263" cy="606690"/>
            <a:chOff x="5708130" y="3824168"/>
            <a:chExt cx="362313" cy="361971"/>
          </a:xfrm>
          <a:solidFill>
            <a:schemeClr val="accent1"/>
          </a:solidFill>
        </p:grpSpPr>
        <p:sp>
          <p:nvSpPr>
            <p:cNvPr id="21" name="Graphic 4">
              <a:extLst>
                <a:ext uri="{FF2B5EF4-FFF2-40B4-BE49-F238E27FC236}">
                  <a16:creationId xmlns:a16="http://schemas.microsoft.com/office/drawing/2014/main" id="{3BAD3C81-C722-9CD3-5DD5-FF9D36DEA0CB}"/>
                </a:ext>
              </a:extLst>
            </p:cNvPr>
            <p:cNvSpPr/>
            <p:nvPr/>
          </p:nvSpPr>
          <p:spPr>
            <a:xfrm>
              <a:off x="5708130" y="3824168"/>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49530" y="273873"/>
                    <a:pt x="274767" y="349204"/>
                    <a:pt x="181474" y="349204"/>
                  </a:cubicBezTo>
                  <a:lnTo>
                    <a:pt x="181474" y="349204"/>
                  </a:lnTo>
                  <a:close/>
                </a:path>
              </a:pathLst>
            </a:custGeom>
            <a:grpFill/>
            <a:ln w="6390" cap="flat">
              <a:noFill/>
              <a:prstDash val="solid"/>
              <a:miter/>
            </a:ln>
          </p:spPr>
          <p:txBody>
            <a:bodyPr rtlCol="0" anchor="ctr"/>
            <a:lstStyle/>
            <a:p>
              <a:endParaRPr lang="en-US" sz="900"/>
            </a:p>
          </p:txBody>
        </p:sp>
        <p:sp>
          <p:nvSpPr>
            <p:cNvPr id="32" name="Graphic 4">
              <a:extLst>
                <a:ext uri="{FF2B5EF4-FFF2-40B4-BE49-F238E27FC236}">
                  <a16:creationId xmlns:a16="http://schemas.microsoft.com/office/drawing/2014/main" id="{372EDB82-E5BC-DC3A-03C2-AD125018E645}"/>
                </a:ext>
              </a:extLst>
            </p:cNvPr>
            <p:cNvSpPr/>
            <p:nvPr/>
          </p:nvSpPr>
          <p:spPr>
            <a:xfrm>
              <a:off x="5793138" y="3908436"/>
              <a:ext cx="195028" cy="194711"/>
            </a:xfrm>
            <a:custGeom>
              <a:avLst/>
              <a:gdLst>
                <a:gd name="connsiteX0" fmla="*/ 190398 w 195028"/>
                <a:gd name="connsiteY0" fmla="*/ 182582 h 194711"/>
                <a:gd name="connsiteX1" fmla="*/ 158449 w 195028"/>
                <a:gd name="connsiteY1" fmla="*/ 174921 h 194711"/>
                <a:gd name="connsiteX2" fmla="*/ 140557 w 195028"/>
                <a:gd name="connsiteY2" fmla="*/ 171729 h 194711"/>
                <a:gd name="connsiteX3" fmla="*/ 130972 w 195028"/>
                <a:gd name="connsiteY3" fmla="*/ 156408 h 194711"/>
                <a:gd name="connsiteX4" fmla="*/ 180174 w 195028"/>
                <a:gd name="connsiteY4" fmla="*/ 156408 h 194711"/>
                <a:gd name="connsiteX5" fmla="*/ 185925 w 195028"/>
                <a:gd name="connsiteY5" fmla="*/ 152577 h 194711"/>
                <a:gd name="connsiteX6" fmla="*/ 184647 w 195028"/>
                <a:gd name="connsiteY6" fmla="*/ 145555 h 194711"/>
                <a:gd name="connsiteX7" fmla="*/ 163561 w 195028"/>
                <a:gd name="connsiteY7" fmla="*/ 67032 h 194711"/>
                <a:gd name="connsiteX8" fmla="*/ 117553 w 195028"/>
                <a:gd name="connsiteY8" fmla="*/ 3192 h 194711"/>
                <a:gd name="connsiteX9" fmla="*/ 97105 w 195028"/>
                <a:gd name="connsiteY9" fmla="*/ 0 h 194711"/>
                <a:gd name="connsiteX10" fmla="*/ 95827 w 195028"/>
                <a:gd name="connsiteY10" fmla="*/ 0 h 194711"/>
                <a:gd name="connsiteX11" fmla="*/ 72823 w 195028"/>
                <a:gd name="connsiteY11" fmla="*/ 3831 h 194711"/>
                <a:gd name="connsiteX12" fmla="*/ 29372 w 195028"/>
                <a:gd name="connsiteY12" fmla="*/ 67032 h 194711"/>
                <a:gd name="connsiteX13" fmla="*/ 8924 w 195028"/>
                <a:gd name="connsiteY13" fmla="*/ 145555 h 194711"/>
                <a:gd name="connsiteX14" fmla="*/ 7646 w 195028"/>
                <a:gd name="connsiteY14" fmla="*/ 152577 h 194711"/>
                <a:gd name="connsiteX15" fmla="*/ 13397 w 195028"/>
                <a:gd name="connsiteY15" fmla="*/ 156408 h 194711"/>
                <a:gd name="connsiteX16" fmla="*/ 61960 w 195028"/>
                <a:gd name="connsiteY16" fmla="*/ 156408 h 194711"/>
                <a:gd name="connsiteX17" fmla="*/ 52376 w 195028"/>
                <a:gd name="connsiteY17" fmla="*/ 171729 h 194711"/>
                <a:gd name="connsiteX18" fmla="*/ 35123 w 195028"/>
                <a:gd name="connsiteY18" fmla="*/ 174921 h 194711"/>
                <a:gd name="connsiteX19" fmla="*/ 3173 w 195028"/>
                <a:gd name="connsiteY19" fmla="*/ 182582 h 194711"/>
                <a:gd name="connsiteX20" fmla="*/ 617 w 195028"/>
                <a:gd name="connsiteY20" fmla="*/ 191519 h 194711"/>
                <a:gd name="connsiteX21" fmla="*/ 9563 w 195028"/>
                <a:gd name="connsiteY21" fmla="*/ 194073 h 194711"/>
                <a:gd name="connsiteX22" fmla="*/ 37040 w 195028"/>
                <a:gd name="connsiteY22" fmla="*/ 187689 h 194711"/>
                <a:gd name="connsiteX23" fmla="*/ 59405 w 195028"/>
                <a:gd name="connsiteY23" fmla="*/ 183220 h 194711"/>
                <a:gd name="connsiteX24" fmla="*/ 76657 w 195028"/>
                <a:gd name="connsiteY24" fmla="*/ 154492 h 194711"/>
                <a:gd name="connsiteX25" fmla="*/ 76018 w 195028"/>
                <a:gd name="connsiteY25" fmla="*/ 128957 h 194711"/>
                <a:gd name="connsiteX26" fmla="*/ 57487 w 195028"/>
                <a:gd name="connsiteY26" fmla="*/ 84907 h 194711"/>
                <a:gd name="connsiteX27" fmla="*/ 54292 w 195028"/>
                <a:gd name="connsiteY27" fmla="*/ 64478 h 194711"/>
                <a:gd name="connsiteX28" fmla="*/ 97744 w 195028"/>
                <a:gd name="connsiteY28" fmla="*/ 32559 h 194711"/>
                <a:gd name="connsiteX29" fmla="*/ 141196 w 195028"/>
                <a:gd name="connsiteY29" fmla="*/ 64478 h 194711"/>
                <a:gd name="connsiteX30" fmla="*/ 138001 w 195028"/>
                <a:gd name="connsiteY30" fmla="*/ 84907 h 194711"/>
                <a:gd name="connsiteX31" fmla="*/ 119470 w 195028"/>
                <a:gd name="connsiteY31" fmla="*/ 128957 h 194711"/>
                <a:gd name="connsiteX32" fmla="*/ 118831 w 195028"/>
                <a:gd name="connsiteY32" fmla="*/ 154492 h 194711"/>
                <a:gd name="connsiteX33" fmla="*/ 136084 w 195028"/>
                <a:gd name="connsiteY33" fmla="*/ 183220 h 194711"/>
                <a:gd name="connsiteX34" fmla="*/ 158449 w 195028"/>
                <a:gd name="connsiteY34" fmla="*/ 187689 h 194711"/>
                <a:gd name="connsiteX35" fmla="*/ 185925 w 195028"/>
                <a:gd name="connsiteY35" fmla="*/ 194073 h 194711"/>
                <a:gd name="connsiteX36" fmla="*/ 189120 w 195028"/>
                <a:gd name="connsiteY36" fmla="*/ 194711 h 194711"/>
                <a:gd name="connsiteX37" fmla="*/ 194871 w 195028"/>
                <a:gd name="connsiteY37" fmla="*/ 191519 h 194711"/>
                <a:gd name="connsiteX38" fmla="*/ 190398 w 195028"/>
                <a:gd name="connsiteY38" fmla="*/ 182582 h 194711"/>
                <a:gd name="connsiteX39" fmla="*/ 190398 w 195028"/>
                <a:gd name="connsiteY39" fmla="*/ 182582 h 194711"/>
                <a:gd name="connsiteX40" fmla="*/ 64517 w 195028"/>
                <a:gd name="connsiteY40" fmla="*/ 135341 h 194711"/>
                <a:gd name="connsiteX41" fmla="*/ 64517 w 195028"/>
                <a:gd name="connsiteY41" fmla="*/ 143640 h 194711"/>
                <a:gd name="connsiteX42" fmla="*/ 25538 w 195028"/>
                <a:gd name="connsiteY42" fmla="*/ 143640 h 194711"/>
                <a:gd name="connsiteX43" fmla="*/ 42152 w 195028"/>
                <a:gd name="connsiteY43" fmla="*/ 78523 h 194711"/>
                <a:gd name="connsiteX44" fmla="*/ 44069 w 195028"/>
                <a:gd name="connsiteY44" fmla="*/ 87461 h 194711"/>
                <a:gd name="connsiteX45" fmla="*/ 64517 w 195028"/>
                <a:gd name="connsiteY45" fmla="*/ 135341 h 194711"/>
                <a:gd name="connsiteX46" fmla="*/ 53015 w 195028"/>
                <a:gd name="connsiteY46" fmla="*/ 51710 h 194711"/>
                <a:gd name="connsiteX47" fmla="*/ 62600 w 195028"/>
                <a:gd name="connsiteY47" fmla="*/ 26175 h 194711"/>
                <a:gd name="connsiteX48" fmla="*/ 77935 w 195028"/>
                <a:gd name="connsiteY48" fmla="*/ 15960 h 194711"/>
                <a:gd name="connsiteX49" fmla="*/ 90076 w 195028"/>
                <a:gd name="connsiteY49" fmla="*/ 13407 h 194711"/>
                <a:gd name="connsiteX50" fmla="*/ 53015 w 195028"/>
                <a:gd name="connsiteY50" fmla="*/ 51710 h 194711"/>
                <a:gd name="connsiteX51" fmla="*/ 53015 w 195028"/>
                <a:gd name="connsiteY51" fmla="*/ 51710 h 194711"/>
                <a:gd name="connsiteX52" fmla="*/ 103495 w 195028"/>
                <a:gd name="connsiteY52" fmla="*/ 12768 h 194711"/>
                <a:gd name="connsiteX53" fmla="*/ 113719 w 195028"/>
                <a:gd name="connsiteY53" fmla="*/ 14683 h 194711"/>
                <a:gd name="connsiteX54" fmla="*/ 130333 w 195028"/>
                <a:gd name="connsiteY54" fmla="*/ 25536 h 194711"/>
                <a:gd name="connsiteX55" fmla="*/ 139918 w 195028"/>
                <a:gd name="connsiteY55" fmla="*/ 51072 h 194711"/>
                <a:gd name="connsiteX56" fmla="*/ 103495 w 195028"/>
                <a:gd name="connsiteY56" fmla="*/ 12768 h 194711"/>
                <a:gd name="connsiteX57" fmla="*/ 103495 w 195028"/>
                <a:gd name="connsiteY57" fmla="*/ 12768 h 194711"/>
                <a:gd name="connsiteX58" fmla="*/ 128416 w 195028"/>
                <a:gd name="connsiteY58" fmla="*/ 135341 h 194711"/>
                <a:gd name="connsiteX59" fmla="*/ 148864 w 195028"/>
                <a:gd name="connsiteY59" fmla="*/ 87461 h 194711"/>
                <a:gd name="connsiteX60" fmla="*/ 150781 w 195028"/>
                <a:gd name="connsiteY60" fmla="*/ 77246 h 194711"/>
                <a:gd name="connsiteX61" fmla="*/ 167394 w 195028"/>
                <a:gd name="connsiteY61" fmla="*/ 143640 h 194711"/>
                <a:gd name="connsiteX62" fmla="*/ 127777 w 195028"/>
                <a:gd name="connsiteY62" fmla="*/ 143640 h 194711"/>
                <a:gd name="connsiteX63" fmla="*/ 128416 w 195028"/>
                <a:gd name="connsiteY63" fmla="*/ 135341 h 194711"/>
                <a:gd name="connsiteX64" fmla="*/ 128416 w 195028"/>
                <a:gd name="connsiteY64" fmla="*/ 135341 h 19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5028" h="194711">
                  <a:moveTo>
                    <a:pt x="190398" y="182582"/>
                  </a:moveTo>
                  <a:cubicBezTo>
                    <a:pt x="180174" y="178113"/>
                    <a:pt x="169311" y="175560"/>
                    <a:pt x="158449" y="174921"/>
                  </a:cubicBezTo>
                  <a:cubicBezTo>
                    <a:pt x="152698" y="174921"/>
                    <a:pt x="146308" y="173644"/>
                    <a:pt x="140557" y="171729"/>
                  </a:cubicBezTo>
                  <a:cubicBezTo>
                    <a:pt x="136084" y="167899"/>
                    <a:pt x="132250" y="162792"/>
                    <a:pt x="130972" y="156408"/>
                  </a:cubicBezTo>
                  <a:lnTo>
                    <a:pt x="180174" y="156408"/>
                  </a:lnTo>
                  <a:cubicBezTo>
                    <a:pt x="182730" y="156408"/>
                    <a:pt x="185286" y="154492"/>
                    <a:pt x="185925" y="152577"/>
                  </a:cubicBezTo>
                  <a:cubicBezTo>
                    <a:pt x="187203" y="150024"/>
                    <a:pt x="186564" y="147470"/>
                    <a:pt x="184647" y="145555"/>
                  </a:cubicBezTo>
                  <a:cubicBezTo>
                    <a:pt x="184647" y="145555"/>
                    <a:pt x="163561" y="124488"/>
                    <a:pt x="163561" y="67032"/>
                  </a:cubicBezTo>
                  <a:cubicBezTo>
                    <a:pt x="165478" y="37666"/>
                    <a:pt x="146308" y="10215"/>
                    <a:pt x="117553" y="3192"/>
                  </a:cubicBezTo>
                  <a:cubicBezTo>
                    <a:pt x="111163" y="1277"/>
                    <a:pt x="104134" y="0"/>
                    <a:pt x="97105" y="0"/>
                  </a:cubicBezTo>
                  <a:lnTo>
                    <a:pt x="95827" y="0"/>
                  </a:lnTo>
                  <a:cubicBezTo>
                    <a:pt x="88159" y="0"/>
                    <a:pt x="80491" y="1277"/>
                    <a:pt x="72823" y="3831"/>
                  </a:cubicBezTo>
                  <a:cubicBezTo>
                    <a:pt x="45347" y="12130"/>
                    <a:pt x="26816" y="38304"/>
                    <a:pt x="29372" y="67032"/>
                  </a:cubicBezTo>
                  <a:cubicBezTo>
                    <a:pt x="29372" y="125126"/>
                    <a:pt x="8924" y="145555"/>
                    <a:pt x="8924" y="145555"/>
                  </a:cubicBezTo>
                  <a:cubicBezTo>
                    <a:pt x="7007" y="147470"/>
                    <a:pt x="6368" y="150024"/>
                    <a:pt x="7646" y="152577"/>
                  </a:cubicBezTo>
                  <a:cubicBezTo>
                    <a:pt x="8285" y="155131"/>
                    <a:pt x="10841" y="156408"/>
                    <a:pt x="13397" y="156408"/>
                  </a:cubicBezTo>
                  <a:lnTo>
                    <a:pt x="61960" y="156408"/>
                  </a:lnTo>
                  <a:cubicBezTo>
                    <a:pt x="60682" y="162153"/>
                    <a:pt x="57487" y="167899"/>
                    <a:pt x="52376" y="171729"/>
                  </a:cubicBezTo>
                  <a:cubicBezTo>
                    <a:pt x="46625" y="173644"/>
                    <a:pt x="40874" y="174921"/>
                    <a:pt x="35123" y="174921"/>
                  </a:cubicBezTo>
                  <a:cubicBezTo>
                    <a:pt x="24260" y="175560"/>
                    <a:pt x="13397" y="178113"/>
                    <a:pt x="3173" y="182582"/>
                  </a:cubicBezTo>
                  <a:cubicBezTo>
                    <a:pt x="-22" y="184497"/>
                    <a:pt x="-661" y="188327"/>
                    <a:pt x="617" y="191519"/>
                  </a:cubicBezTo>
                  <a:cubicBezTo>
                    <a:pt x="1895" y="194711"/>
                    <a:pt x="6368" y="195350"/>
                    <a:pt x="9563" y="194073"/>
                  </a:cubicBezTo>
                  <a:cubicBezTo>
                    <a:pt x="18509" y="190243"/>
                    <a:pt x="27455" y="188327"/>
                    <a:pt x="37040" y="187689"/>
                  </a:cubicBezTo>
                  <a:cubicBezTo>
                    <a:pt x="44708" y="187689"/>
                    <a:pt x="52376" y="185774"/>
                    <a:pt x="59405" y="183220"/>
                  </a:cubicBezTo>
                  <a:cubicBezTo>
                    <a:pt x="70267" y="177475"/>
                    <a:pt x="75380" y="159600"/>
                    <a:pt x="76657" y="154492"/>
                  </a:cubicBezTo>
                  <a:cubicBezTo>
                    <a:pt x="77935" y="149385"/>
                    <a:pt x="80491" y="135341"/>
                    <a:pt x="76018" y="128957"/>
                  </a:cubicBezTo>
                  <a:cubicBezTo>
                    <a:pt x="67072" y="115550"/>
                    <a:pt x="60682" y="100867"/>
                    <a:pt x="57487" y="84907"/>
                  </a:cubicBezTo>
                  <a:cubicBezTo>
                    <a:pt x="56210" y="78523"/>
                    <a:pt x="54932" y="71501"/>
                    <a:pt x="54292" y="64478"/>
                  </a:cubicBezTo>
                  <a:cubicBezTo>
                    <a:pt x="72823" y="61286"/>
                    <a:pt x="89437" y="49795"/>
                    <a:pt x="97744" y="32559"/>
                  </a:cubicBezTo>
                  <a:cubicBezTo>
                    <a:pt x="106051" y="49795"/>
                    <a:pt x="122665" y="61286"/>
                    <a:pt x="141196" y="64478"/>
                  </a:cubicBezTo>
                  <a:cubicBezTo>
                    <a:pt x="140557" y="71501"/>
                    <a:pt x="139918" y="77885"/>
                    <a:pt x="138001" y="84907"/>
                  </a:cubicBezTo>
                  <a:cubicBezTo>
                    <a:pt x="134167" y="100229"/>
                    <a:pt x="127777" y="115550"/>
                    <a:pt x="119470" y="128957"/>
                  </a:cubicBezTo>
                  <a:cubicBezTo>
                    <a:pt x="114997" y="135979"/>
                    <a:pt x="117553" y="149385"/>
                    <a:pt x="118831" y="154492"/>
                  </a:cubicBezTo>
                  <a:cubicBezTo>
                    <a:pt x="120109" y="159600"/>
                    <a:pt x="125221" y="177475"/>
                    <a:pt x="136084" y="183220"/>
                  </a:cubicBezTo>
                  <a:cubicBezTo>
                    <a:pt x="143113" y="185774"/>
                    <a:pt x="150781" y="187689"/>
                    <a:pt x="158449" y="187689"/>
                  </a:cubicBezTo>
                  <a:cubicBezTo>
                    <a:pt x="168034" y="187689"/>
                    <a:pt x="176979" y="190243"/>
                    <a:pt x="185925" y="194073"/>
                  </a:cubicBezTo>
                  <a:cubicBezTo>
                    <a:pt x="186564" y="194711"/>
                    <a:pt x="187842" y="194711"/>
                    <a:pt x="189120" y="194711"/>
                  </a:cubicBezTo>
                  <a:cubicBezTo>
                    <a:pt x="191676" y="194711"/>
                    <a:pt x="193593" y="193435"/>
                    <a:pt x="194871" y="191519"/>
                  </a:cubicBezTo>
                  <a:cubicBezTo>
                    <a:pt x="195510" y="188327"/>
                    <a:pt x="194232" y="184497"/>
                    <a:pt x="190398" y="182582"/>
                  </a:cubicBezTo>
                  <a:cubicBezTo>
                    <a:pt x="191037" y="182582"/>
                    <a:pt x="191037" y="182582"/>
                    <a:pt x="190398" y="182582"/>
                  </a:cubicBezTo>
                  <a:close/>
                  <a:moveTo>
                    <a:pt x="64517" y="135341"/>
                  </a:moveTo>
                  <a:cubicBezTo>
                    <a:pt x="65155" y="137894"/>
                    <a:pt x="65155" y="141086"/>
                    <a:pt x="64517" y="143640"/>
                  </a:cubicBezTo>
                  <a:lnTo>
                    <a:pt x="25538" y="143640"/>
                  </a:lnTo>
                  <a:cubicBezTo>
                    <a:pt x="31928" y="132149"/>
                    <a:pt x="40235" y="111720"/>
                    <a:pt x="42152" y="78523"/>
                  </a:cubicBezTo>
                  <a:cubicBezTo>
                    <a:pt x="42791" y="81715"/>
                    <a:pt x="43430" y="84269"/>
                    <a:pt x="44069" y="87461"/>
                  </a:cubicBezTo>
                  <a:cubicBezTo>
                    <a:pt x="47264" y="104697"/>
                    <a:pt x="54932" y="120657"/>
                    <a:pt x="64517" y="135341"/>
                  </a:cubicBezTo>
                  <a:close/>
                  <a:moveTo>
                    <a:pt x="53015" y="51710"/>
                  </a:moveTo>
                  <a:cubicBezTo>
                    <a:pt x="53654" y="42135"/>
                    <a:pt x="56849" y="33197"/>
                    <a:pt x="62600" y="26175"/>
                  </a:cubicBezTo>
                  <a:cubicBezTo>
                    <a:pt x="66433" y="21706"/>
                    <a:pt x="72185" y="17875"/>
                    <a:pt x="77935" y="15960"/>
                  </a:cubicBezTo>
                  <a:cubicBezTo>
                    <a:pt x="81769" y="14683"/>
                    <a:pt x="86242" y="14045"/>
                    <a:pt x="90076" y="13407"/>
                  </a:cubicBezTo>
                  <a:cubicBezTo>
                    <a:pt x="86881" y="31920"/>
                    <a:pt x="72185" y="47242"/>
                    <a:pt x="53015" y="51710"/>
                  </a:cubicBezTo>
                  <a:lnTo>
                    <a:pt x="53015" y="51710"/>
                  </a:lnTo>
                  <a:close/>
                  <a:moveTo>
                    <a:pt x="103495" y="12768"/>
                  </a:moveTo>
                  <a:cubicBezTo>
                    <a:pt x="107329" y="13407"/>
                    <a:pt x="110524" y="14045"/>
                    <a:pt x="113719" y="14683"/>
                  </a:cubicBezTo>
                  <a:cubicBezTo>
                    <a:pt x="120109" y="16599"/>
                    <a:pt x="125860" y="20429"/>
                    <a:pt x="130333" y="25536"/>
                  </a:cubicBezTo>
                  <a:cubicBezTo>
                    <a:pt x="136084" y="32559"/>
                    <a:pt x="139279" y="41496"/>
                    <a:pt x="139918" y="51072"/>
                  </a:cubicBezTo>
                  <a:cubicBezTo>
                    <a:pt x="120748" y="47242"/>
                    <a:pt x="106690" y="31920"/>
                    <a:pt x="103495" y="12768"/>
                  </a:cubicBezTo>
                  <a:lnTo>
                    <a:pt x="103495" y="12768"/>
                  </a:lnTo>
                  <a:close/>
                  <a:moveTo>
                    <a:pt x="128416" y="135341"/>
                  </a:moveTo>
                  <a:cubicBezTo>
                    <a:pt x="138001" y="120657"/>
                    <a:pt x="145030" y="104059"/>
                    <a:pt x="148864" y="87461"/>
                  </a:cubicBezTo>
                  <a:cubicBezTo>
                    <a:pt x="149503" y="84269"/>
                    <a:pt x="150141" y="80438"/>
                    <a:pt x="150781" y="77246"/>
                  </a:cubicBezTo>
                  <a:cubicBezTo>
                    <a:pt x="152059" y="111081"/>
                    <a:pt x="160366" y="132149"/>
                    <a:pt x="167394" y="143640"/>
                  </a:cubicBezTo>
                  <a:lnTo>
                    <a:pt x="127777" y="143640"/>
                  </a:lnTo>
                  <a:cubicBezTo>
                    <a:pt x="127777" y="141086"/>
                    <a:pt x="127777" y="137894"/>
                    <a:pt x="128416" y="135341"/>
                  </a:cubicBezTo>
                  <a:lnTo>
                    <a:pt x="128416" y="135341"/>
                  </a:lnTo>
                  <a:close/>
                </a:path>
              </a:pathLst>
            </a:custGeom>
            <a:grpFill/>
            <a:ln w="6390" cap="flat">
              <a:noFill/>
              <a:prstDash val="solid"/>
              <a:miter/>
            </a:ln>
          </p:spPr>
          <p:txBody>
            <a:bodyPr rtlCol="0" anchor="ctr"/>
            <a:lstStyle/>
            <a:p>
              <a:endParaRPr lang="en-US" sz="900"/>
            </a:p>
          </p:txBody>
        </p:sp>
      </p:grpSp>
      <p:grpSp>
        <p:nvGrpSpPr>
          <p:cNvPr id="33" name="Graphic 4">
            <a:extLst>
              <a:ext uri="{FF2B5EF4-FFF2-40B4-BE49-F238E27FC236}">
                <a16:creationId xmlns:a16="http://schemas.microsoft.com/office/drawing/2014/main" id="{452A2999-9037-BD5C-D0F0-9A1C45715EEF}"/>
              </a:ext>
            </a:extLst>
          </p:cNvPr>
          <p:cNvGrpSpPr>
            <a:grpSpLocks noChangeAspect="1"/>
          </p:cNvGrpSpPr>
          <p:nvPr/>
        </p:nvGrpSpPr>
        <p:grpSpPr>
          <a:xfrm>
            <a:off x="2707040" y="3433728"/>
            <a:ext cx="607263" cy="606697"/>
            <a:chOff x="467104" y="3339623"/>
            <a:chExt cx="362309" cy="361971"/>
          </a:xfrm>
          <a:solidFill>
            <a:schemeClr val="accent4"/>
          </a:solidFill>
        </p:grpSpPr>
        <p:sp>
          <p:nvSpPr>
            <p:cNvPr id="34" name="Graphic 4">
              <a:extLst>
                <a:ext uri="{FF2B5EF4-FFF2-40B4-BE49-F238E27FC236}">
                  <a16:creationId xmlns:a16="http://schemas.microsoft.com/office/drawing/2014/main" id="{9583DC7C-2D84-AACE-0A30-86852BD3B518}"/>
                </a:ext>
              </a:extLst>
            </p:cNvPr>
            <p:cNvSpPr/>
            <p:nvPr/>
          </p:nvSpPr>
          <p:spPr>
            <a:xfrm>
              <a:off x="467104" y="3339623"/>
              <a:ext cx="362309" cy="361971"/>
            </a:xfrm>
            <a:custGeom>
              <a:avLst/>
              <a:gdLst>
                <a:gd name="connsiteX0" fmla="*/ 181474 w 362309"/>
                <a:gd name="connsiteY0" fmla="*/ 349204 h 361971"/>
                <a:gd name="connsiteX1" fmla="*/ 13419 w 362309"/>
                <a:gd name="connsiteY1" fmla="*/ 181305 h 361971"/>
                <a:gd name="connsiteX2" fmla="*/ 181474 w 362309"/>
                <a:gd name="connsiteY2" fmla="*/ 12768 h 361971"/>
                <a:gd name="connsiteX3" fmla="*/ 349530 w 362309"/>
                <a:gd name="connsiteY3" fmla="*/ 181305 h 361971"/>
                <a:gd name="connsiteX4" fmla="*/ 349530 w 362309"/>
                <a:gd name="connsiteY4" fmla="*/ 181305 h 361971"/>
                <a:gd name="connsiteX5" fmla="*/ 181474 w 362309"/>
                <a:gd name="connsiteY5" fmla="*/ 349204 h 361971"/>
                <a:gd name="connsiteX6" fmla="*/ 181474 w 362309"/>
                <a:gd name="connsiteY6" fmla="*/ 0 h 361971"/>
                <a:gd name="connsiteX7" fmla="*/ 0 w 362309"/>
                <a:gd name="connsiteY7" fmla="*/ 180667 h 361971"/>
                <a:gd name="connsiteX8" fmla="*/ 181474 w 362309"/>
                <a:gd name="connsiteY8" fmla="*/ 361972 h 361971"/>
                <a:gd name="connsiteX9" fmla="*/ 362309 w 362309"/>
                <a:gd name="connsiteY9" fmla="*/ 180667 h 361971"/>
                <a:gd name="connsiteX10" fmla="*/ 362309 w 362309"/>
                <a:gd name="connsiteY10" fmla="*/ 180667 h 361971"/>
                <a:gd name="connsiteX11" fmla="*/ 181474 w 362309"/>
                <a:gd name="connsiteY11" fmla="*/ 0 h 361971"/>
                <a:gd name="connsiteX12" fmla="*/ 181474 w 362309"/>
                <a:gd name="connsiteY12"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lnTo>
                    <a:pt x="349530" y="181305"/>
                  </a:lnTo>
                  <a:cubicBezTo>
                    <a:pt x="349530" y="273873"/>
                    <a:pt x="274128" y="349204"/>
                    <a:pt x="181474" y="349204"/>
                  </a:cubicBezTo>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endParaRPr lang="en-US" sz="900"/>
            </a:p>
          </p:txBody>
        </p:sp>
        <p:sp>
          <p:nvSpPr>
            <p:cNvPr id="36" name="Graphic 4">
              <a:extLst>
                <a:ext uri="{FF2B5EF4-FFF2-40B4-BE49-F238E27FC236}">
                  <a16:creationId xmlns:a16="http://schemas.microsoft.com/office/drawing/2014/main" id="{F5E3D9EE-4756-E274-2AF4-CA67740F917F}"/>
                </a:ext>
              </a:extLst>
            </p:cNvPr>
            <p:cNvSpPr/>
            <p:nvPr/>
          </p:nvSpPr>
          <p:spPr>
            <a:xfrm>
              <a:off x="539949" y="3432343"/>
              <a:ext cx="217257" cy="177323"/>
            </a:xfrm>
            <a:custGeom>
              <a:avLst/>
              <a:gdLst>
                <a:gd name="connsiteX0" fmla="*/ 204478 w 217257"/>
                <a:gd name="connsiteY0" fmla="*/ 162640 h 177323"/>
                <a:gd name="connsiteX1" fmla="*/ 115019 w 217257"/>
                <a:gd name="connsiteY1" fmla="*/ 162002 h 177323"/>
                <a:gd name="connsiteX2" fmla="*/ 115019 w 217257"/>
                <a:gd name="connsiteY2" fmla="*/ 18362 h 177323"/>
                <a:gd name="connsiteX3" fmla="*/ 204478 w 217257"/>
                <a:gd name="connsiteY3" fmla="*/ 18362 h 177323"/>
                <a:gd name="connsiteX4" fmla="*/ 204478 w 217257"/>
                <a:gd name="connsiteY4" fmla="*/ 162640 h 177323"/>
                <a:gd name="connsiteX5" fmla="*/ 12780 w 217257"/>
                <a:gd name="connsiteY5" fmla="*/ 162002 h 177323"/>
                <a:gd name="connsiteX6" fmla="*/ 12780 w 217257"/>
                <a:gd name="connsiteY6" fmla="*/ 18362 h 177323"/>
                <a:gd name="connsiteX7" fmla="*/ 102239 w 217257"/>
                <a:gd name="connsiteY7" fmla="*/ 17723 h 177323"/>
                <a:gd name="connsiteX8" fmla="*/ 102239 w 217257"/>
                <a:gd name="connsiteY8" fmla="*/ 162002 h 177323"/>
                <a:gd name="connsiteX9" fmla="*/ 12780 w 217257"/>
                <a:gd name="connsiteY9" fmla="*/ 162002 h 177323"/>
                <a:gd name="connsiteX10" fmla="*/ 213424 w 217257"/>
                <a:gd name="connsiteY10" fmla="*/ 7509 h 177323"/>
                <a:gd name="connsiteX11" fmla="*/ 109268 w 217257"/>
                <a:gd name="connsiteY11" fmla="*/ 6871 h 177323"/>
                <a:gd name="connsiteX12" fmla="*/ 5112 w 217257"/>
                <a:gd name="connsiteY12" fmla="*/ 7509 h 177323"/>
                <a:gd name="connsiteX13" fmla="*/ 0 w 217257"/>
                <a:gd name="connsiteY13" fmla="*/ 13893 h 177323"/>
                <a:gd name="connsiteX14" fmla="*/ 0 w 217257"/>
                <a:gd name="connsiteY14" fmla="*/ 170939 h 177323"/>
                <a:gd name="connsiteX15" fmla="*/ 6390 w 217257"/>
                <a:gd name="connsiteY15" fmla="*/ 177323 h 177323"/>
                <a:gd name="connsiteX16" fmla="*/ 8946 w 217257"/>
                <a:gd name="connsiteY16" fmla="*/ 176685 h 177323"/>
                <a:gd name="connsiteX17" fmla="*/ 106712 w 217257"/>
                <a:gd name="connsiteY17" fmla="*/ 176685 h 177323"/>
                <a:gd name="connsiteX18" fmla="*/ 108629 w 217257"/>
                <a:gd name="connsiteY18" fmla="*/ 176685 h 177323"/>
                <a:gd name="connsiteX19" fmla="*/ 109268 w 217257"/>
                <a:gd name="connsiteY19" fmla="*/ 176685 h 177323"/>
                <a:gd name="connsiteX20" fmla="*/ 111185 w 217257"/>
                <a:gd name="connsiteY20" fmla="*/ 176046 h 177323"/>
                <a:gd name="connsiteX21" fmla="*/ 111185 w 217257"/>
                <a:gd name="connsiteY21" fmla="*/ 176046 h 177323"/>
                <a:gd name="connsiteX22" fmla="*/ 111185 w 217257"/>
                <a:gd name="connsiteY22" fmla="*/ 176046 h 177323"/>
                <a:gd name="connsiteX23" fmla="*/ 208951 w 217257"/>
                <a:gd name="connsiteY23" fmla="*/ 176046 h 177323"/>
                <a:gd name="connsiteX24" fmla="*/ 210868 w 217257"/>
                <a:gd name="connsiteY24" fmla="*/ 176046 h 177323"/>
                <a:gd name="connsiteX25" fmla="*/ 214702 w 217257"/>
                <a:gd name="connsiteY25" fmla="*/ 174770 h 177323"/>
                <a:gd name="connsiteX26" fmla="*/ 217258 w 217257"/>
                <a:gd name="connsiteY26" fmla="*/ 169662 h 177323"/>
                <a:gd name="connsiteX27" fmla="*/ 217258 w 217257"/>
                <a:gd name="connsiteY27" fmla="*/ 12616 h 177323"/>
                <a:gd name="connsiteX28" fmla="*/ 213424 w 217257"/>
                <a:gd name="connsiteY28" fmla="*/ 7509 h 17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7257" h="177323">
                  <a:moveTo>
                    <a:pt x="204478" y="162640"/>
                  </a:moveTo>
                  <a:cubicBezTo>
                    <a:pt x="175084" y="154979"/>
                    <a:pt x="144413" y="154341"/>
                    <a:pt x="115019" y="162002"/>
                  </a:cubicBezTo>
                  <a:lnTo>
                    <a:pt x="115019" y="18362"/>
                  </a:lnTo>
                  <a:cubicBezTo>
                    <a:pt x="144413" y="11340"/>
                    <a:pt x="175084" y="11340"/>
                    <a:pt x="204478" y="18362"/>
                  </a:cubicBezTo>
                  <a:lnTo>
                    <a:pt x="204478" y="162640"/>
                  </a:lnTo>
                  <a:close/>
                  <a:moveTo>
                    <a:pt x="12780" y="162002"/>
                  </a:moveTo>
                  <a:lnTo>
                    <a:pt x="12780" y="18362"/>
                  </a:lnTo>
                  <a:cubicBezTo>
                    <a:pt x="42174" y="10701"/>
                    <a:pt x="72845" y="10701"/>
                    <a:pt x="102239" y="17723"/>
                  </a:cubicBezTo>
                  <a:lnTo>
                    <a:pt x="102239" y="162002"/>
                  </a:lnTo>
                  <a:cubicBezTo>
                    <a:pt x="72845" y="154341"/>
                    <a:pt x="42174" y="154341"/>
                    <a:pt x="12780" y="162002"/>
                  </a:cubicBezTo>
                  <a:moveTo>
                    <a:pt x="213424" y="7509"/>
                  </a:moveTo>
                  <a:cubicBezTo>
                    <a:pt x="179557" y="-2067"/>
                    <a:pt x="143135" y="-2705"/>
                    <a:pt x="109268" y="6871"/>
                  </a:cubicBezTo>
                  <a:cubicBezTo>
                    <a:pt x="100322" y="3679"/>
                    <a:pt x="61982" y="-7174"/>
                    <a:pt x="5112" y="7509"/>
                  </a:cubicBezTo>
                  <a:cubicBezTo>
                    <a:pt x="1917" y="8148"/>
                    <a:pt x="0" y="10701"/>
                    <a:pt x="0" y="13893"/>
                  </a:cubicBezTo>
                  <a:lnTo>
                    <a:pt x="0" y="170939"/>
                  </a:lnTo>
                  <a:cubicBezTo>
                    <a:pt x="0" y="174770"/>
                    <a:pt x="3195" y="177323"/>
                    <a:pt x="6390" y="177323"/>
                  </a:cubicBezTo>
                  <a:cubicBezTo>
                    <a:pt x="7029" y="177323"/>
                    <a:pt x="7668" y="177323"/>
                    <a:pt x="8946" y="176685"/>
                  </a:cubicBezTo>
                  <a:cubicBezTo>
                    <a:pt x="40896" y="166470"/>
                    <a:pt x="75401" y="166470"/>
                    <a:pt x="106712" y="176685"/>
                  </a:cubicBezTo>
                  <a:cubicBezTo>
                    <a:pt x="107351" y="176685"/>
                    <a:pt x="107990" y="176685"/>
                    <a:pt x="108629" y="176685"/>
                  </a:cubicBezTo>
                  <a:lnTo>
                    <a:pt x="109268" y="176685"/>
                  </a:lnTo>
                  <a:cubicBezTo>
                    <a:pt x="109907" y="176685"/>
                    <a:pt x="110546" y="176685"/>
                    <a:pt x="111185" y="176046"/>
                  </a:cubicBezTo>
                  <a:lnTo>
                    <a:pt x="111185" y="176046"/>
                  </a:lnTo>
                  <a:lnTo>
                    <a:pt x="111185" y="176046"/>
                  </a:lnTo>
                  <a:cubicBezTo>
                    <a:pt x="111824" y="176046"/>
                    <a:pt x="149525" y="159448"/>
                    <a:pt x="208951" y="176046"/>
                  </a:cubicBezTo>
                  <a:cubicBezTo>
                    <a:pt x="209590" y="176046"/>
                    <a:pt x="210229" y="176046"/>
                    <a:pt x="210868" y="176046"/>
                  </a:cubicBezTo>
                  <a:cubicBezTo>
                    <a:pt x="212146" y="176046"/>
                    <a:pt x="213424" y="175408"/>
                    <a:pt x="214702" y="174770"/>
                  </a:cubicBezTo>
                  <a:cubicBezTo>
                    <a:pt x="215980" y="173493"/>
                    <a:pt x="217258" y="171578"/>
                    <a:pt x="217258" y="169662"/>
                  </a:cubicBezTo>
                  <a:lnTo>
                    <a:pt x="217258" y="12616"/>
                  </a:lnTo>
                  <a:cubicBezTo>
                    <a:pt x="217258" y="10701"/>
                    <a:pt x="215341" y="8148"/>
                    <a:pt x="213424" y="7509"/>
                  </a:cubicBezTo>
                </a:path>
              </a:pathLst>
            </a:custGeom>
            <a:grpFill/>
            <a:ln w="6390" cap="flat">
              <a:noFill/>
              <a:prstDash val="solid"/>
              <a:miter/>
            </a:ln>
          </p:spPr>
          <p:txBody>
            <a:bodyPr rtlCol="0" anchor="ctr"/>
            <a:lstStyle/>
            <a:p>
              <a:endParaRPr lang="en-US" sz="900"/>
            </a:p>
          </p:txBody>
        </p:sp>
      </p:grpSp>
      <p:cxnSp>
        <p:nvCxnSpPr>
          <p:cNvPr id="37" name="Straight Arrow Connector 36">
            <a:extLst>
              <a:ext uri="{FF2B5EF4-FFF2-40B4-BE49-F238E27FC236}">
                <a16:creationId xmlns:a16="http://schemas.microsoft.com/office/drawing/2014/main" id="{B508FD5D-7AD2-4ADC-4457-5B9DCFAD23CF}"/>
              </a:ext>
            </a:extLst>
          </p:cNvPr>
          <p:cNvCxnSpPr>
            <a:stCxn id="10" idx="3"/>
            <a:endCxn id="17" idx="1"/>
          </p:cNvCxnSpPr>
          <p:nvPr/>
        </p:nvCxnSpPr>
        <p:spPr>
          <a:xfrm flipV="1">
            <a:off x="1956050" y="2392710"/>
            <a:ext cx="750990" cy="107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B7F68CC-D99B-B0F8-720A-661AB43510B2}"/>
              </a:ext>
            </a:extLst>
          </p:cNvPr>
          <p:cNvCxnSpPr/>
          <p:nvPr/>
        </p:nvCxnSpPr>
        <p:spPr>
          <a:xfrm flipV="1">
            <a:off x="3312006" y="2392710"/>
            <a:ext cx="750990" cy="107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D8D8A49-8BF9-CB1B-5DA4-89D09C4696F1}"/>
              </a:ext>
            </a:extLst>
          </p:cNvPr>
          <p:cNvCxnSpPr/>
          <p:nvPr/>
        </p:nvCxnSpPr>
        <p:spPr>
          <a:xfrm flipV="1">
            <a:off x="4667962" y="2392710"/>
            <a:ext cx="750990" cy="107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E72EAB8-CC5F-08DB-AF3D-B96A70C2CBD1}"/>
              </a:ext>
            </a:extLst>
          </p:cNvPr>
          <p:cNvCxnSpPr>
            <a:cxnSpLocks/>
          </p:cNvCxnSpPr>
          <p:nvPr/>
        </p:nvCxnSpPr>
        <p:spPr>
          <a:xfrm flipV="1">
            <a:off x="3097589" y="2696589"/>
            <a:ext cx="0" cy="754123"/>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230C1C3-FCE9-0F1E-D2C1-00A6FBD98F80}"/>
              </a:ext>
            </a:extLst>
          </p:cNvPr>
          <p:cNvSpPr txBox="1"/>
          <p:nvPr/>
        </p:nvSpPr>
        <p:spPr>
          <a:xfrm>
            <a:off x="1956053" y="1935315"/>
            <a:ext cx="750989" cy="2308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pt-PT" sz="900" b="1" cap="none" spc="100" dirty="0">
                <a:solidFill>
                  <a:schemeClr val="tx1">
                    <a:lumMod val="50000"/>
                    <a:lumOff val="50000"/>
                  </a:schemeClr>
                </a:solidFill>
                <a:latin typeface="Open Sans"/>
                <a:ea typeface="Verdana" panose="020B0604030504040204" pitchFamily="34" charset="0"/>
                <a:cs typeface="Open Sans" panose="020B0606030504020204" pitchFamily="34" charset="0"/>
              </a:rPr>
              <a:t>Question</a:t>
            </a:r>
            <a:endParaRPr kumimoji="0" lang="en-US" sz="900" b="0" i="0" u="none" strike="noStrike" kern="1200" cap="none" spc="0" normalizeH="0" baseline="0" noProof="0" dirty="0">
              <a:ln>
                <a:noFill/>
              </a:ln>
              <a:solidFill>
                <a:schemeClr val="tx1">
                  <a:lumMod val="50000"/>
                  <a:lumOff val="50000"/>
                </a:schemeClr>
              </a:solidFill>
              <a:effectLst/>
              <a:uLnTx/>
              <a:uFillTx/>
              <a:latin typeface="Open Sans"/>
            </a:endParaRPr>
          </a:p>
        </p:txBody>
      </p:sp>
      <p:sp>
        <p:nvSpPr>
          <p:cNvPr id="43" name="TextBox 42">
            <a:extLst>
              <a:ext uri="{FF2B5EF4-FFF2-40B4-BE49-F238E27FC236}">
                <a16:creationId xmlns:a16="http://schemas.microsoft.com/office/drawing/2014/main" id="{7A0E7FA6-5AAC-C87D-E90B-8E2E28E9A2DC}"/>
              </a:ext>
            </a:extLst>
          </p:cNvPr>
          <p:cNvSpPr txBox="1"/>
          <p:nvPr/>
        </p:nvSpPr>
        <p:spPr>
          <a:xfrm>
            <a:off x="3237045" y="1839123"/>
            <a:ext cx="872403" cy="507831"/>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rPr>
              <a:t>Question</a:t>
            </a:r>
            <a:br>
              <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rPr>
            </a:br>
            <a:r>
              <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rPr>
              <a:t>+</a:t>
            </a:r>
            <a:br>
              <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rPr>
            </a:br>
            <a:r>
              <a:rPr lang="pt-PT" sz="900" b="1" spc="100" dirty="0" err="1">
                <a:solidFill>
                  <a:schemeClr val="tx1">
                    <a:lumMod val="50000"/>
                    <a:lumOff val="50000"/>
                  </a:schemeClr>
                </a:solidFill>
                <a:latin typeface="Open Sans"/>
                <a:ea typeface="Verdana" panose="020B0604030504040204" pitchFamily="34" charset="0"/>
                <a:cs typeface="Open Sans" panose="020B0606030504020204" pitchFamily="34" charset="0"/>
              </a:rPr>
              <a:t>Context</a:t>
            </a:r>
            <a:endParaRPr kumimoji="0" lang="en-US" sz="900" b="0" i="0" u="none" strike="noStrike" kern="1200" cap="none" spc="0" normalizeH="0" baseline="0" noProof="0" dirty="0">
              <a:ln>
                <a:noFill/>
              </a:ln>
              <a:solidFill>
                <a:schemeClr val="tx1">
                  <a:lumMod val="50000"/>
                  <a:lumOff val="50000"/>
                </a:schemeClr>
              </a:solidFill>
              <a:effectLst/>
              <a:uLnTx/>
              <a:uFillTx/>
              <a:latin typeface="Open Sans"/>
            </a:endParaRPr>
          </a:p>
        </p:txBody>
      </p:sp>
      <p:sp>
        <p:nvSpPr>
          <p:cNvPr id="44" name="TextBox 43">
            <a:extLst>
              <a:ext uri="{FF2B5EF4-FFF2-40B4-BE49-F238E27FC236}">
                <a16:creationId xmlns:a16="http://schemas.microsoft.com/office/drawing/2014/main" id="{B5406A4B-DD82-4F0E-6477-E3AA60D9FE2B}"/>
              </a:ext>
            </a:extLst>
          </p:cNvPr>
          <p:cNvSpPr txBox="1"/>
          <p:nvPr/>
        </p:nvSpPr>
        <p:spPr>
          <a:xfrm>
            <a:off x="4672548" y="1924742"/>
            <a:ext cx="750990" cy="2308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pt-PT" sz="900" b="1" i="0" u="none" strike="noStrike" kern="1200" spc="100" normalizeH="0" baseline="0" noProof="0" dirty="0" err="1">
                <a:ln>
                  <a:noFill/>
                </a:ln>
                <a:solidFill>
                  <a:schemeClr val="tx1">
                    <a:lumMod val="50000"/>
                    <a:lumOff val="50000"/>
                  </a:schemeClr>
                </a:solidFill>
                <a:effectLst/>
                <a:uLnTx/>
                <a:uFillTx/>
                <a:latin typeface="Open Sans"/>
                <a:ea typeface="Verdana" panose="020B0604030504040204" pitchFamily="34" charset="0"/>
                <a:cs typeface="Open Sans" panose="020B0606030504020204" pitchFamily="34" charset="0"/>
              </a:rPr>
              <a:t>Answer</a:t>
            </a:r>
            <a:endParaRPr kumimoji="0" lang="en-US" sz="900" b="0" i="0" u="none" strike="noStrike" kern="1200" cap="none" spc="0" normalizeH="0" baseline="0" noProof="0" dirty="0">
              <a:ln>
                <a:noFill/>
              </a:ln>
              <a:solidFill>
                <a:schemeClr val="tx1">
                  <a:lumMod val="50000"/>
                  <a:lumOff val="50000"/>
                </a:schemeClr>
              </a:solidFill>
              <a:effectLst/>
              <a:uLnTx/>
              <a:uFillTx/>
              <a:latin typeface="Open Sans"/>
            </a:endParaRPr>
          </a:p>
        </p:txBody>
      </p:sp>
      <p:sp>
        <p:nvSpPr>
          <p:cNvPr id="45" name="TextBox 44">
            <a:extLst>
              <a:ext uri="{FF2B5EF4-FFF2-40B4-BE49-F238E27FC236}">
                <a16:creationId xmlns:a16="http://schemas.microsoft.com/office/drawing/2014/main" id="{7E123F9C-ADBB-3EA1-0164-6499497FE58B}"/>
              </a:ext>
            </a:extLst>
          </p:cNvPr>
          <p:cNvSpPr txBox="1"/>
          <p:nvPr/>
        </p:nvSpPr>
        <p:spPr>
          <a:xfrm>
            <a:off x="1488517" y="2884167"/>
            <a:ext cx="1269325" cy="446276"/>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lang="pt-PT" sz="900" b="1" spc="100" dirty="0" err="1">
                <a:solidFill>
                  <a:schemeClr val="tx1">
                    <a:lumMod val="50000"/>
                    <a:lumOff val="50000"/>
                  </a:schemeClr>
                </a:solidFill>
                <a:latin typeface="Open Sans"/>
                <a:ea typeface="Verdana" panose="020B0604030504040204" pitchFamily="34" charset="0"/>
                <a:cs typeface="Open Sans" panose="020B0606030504020204" pitchFamily="34" charset="0"/>
              </a:rPr>
              <a:t>Retrieval</a:t>
            </a:r>
            <a:endPar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endParaRP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pt-PT" sz="900" b="1" i="0" u="none" strike="noStrike" kern="1200" cap="none" spc="100" normalizeH="0" baseline="0" noProof="0" dirty="0">
                <a:ln>
                  <a:noFill/>
                </a:ln>
                <a:solidFill>
                  <a:schemeClr val="tx1">
                    <a:lumMod val="50000"/>
                    <a:lumOff val="50000"/>
                  </a:schemeClr>
                </a:solidFill>
                <a:effectLst/>
                <a:uLnTx/>
                <a:uFillTx/>
                <a:latin typeface="Open Sans"/>
                <a:ea typeface="Verdana" panose="020B0604030504040204" pitchFamily="34" charset="0"/>
                <a:cs typeface="Open Sans" panose="020B0606030504020204" pitchFamily="34" charset="0"/>
              </a:rPr>
              <a:t>(</a:t>
            </a:r>
            <a:r>
              <a:rPr kumimoji="0" lang="pt-PT" sz="900" b="1" i="0" u="none" strike="noStrike" kern="1200" cap="none" spc="100" normalizeH="0" baseline="0" noProof="0" dirty="0" err="1">
                <a:ln>
                  <a:noFill/>
                </a:ln>
                <a:solidFill>
                  <a:schemeClr val="tx1">
                    <a:lumMod val="50000"/>
                    <a:lumOff val="50000"/>
                  </a:schemeClr>
                </a:solidFill>
                <a:effectLst/>
                <a:uLnTx/>
                <a:uFillTx/>
                <a:latin typeface="Open Sans"/>
                <a:ea typeface="Verdana" panose="020B0604030504040204" pitchFamily="34" charset="0"/>
                <a:cs typeface="Open Sans" panose="020B0606030504020204" pitchFamily="34" charset="0"/>
              </a:rPr>
              <a:t>semantic</a:t>
            </a:r>
            <a:r>
              <a:rPr kumimoji="0" lang="pt-PT" sz="900" b="1" i="0" u="none" strike="noStrike" kern="1200" cap="none" spc="100" normalizeH="0" baseline="0" noProof="0" dirty="0">
                <a:ln>
                  <a:noFill/>
                </a:ln>
                <a:solidFill>
                  <a:schemeClr val="tx1">
                    <a:lumMod val="50000"/>
                    <a:lumOff val="50000"/>
                  </a:schemeClr>
                </a:solidFill>
                <a:effectLst/>
                <a:uLnTx/>
                <a:uFillTx/>
                <a:latin typeface="Open Sans"/>
                <a:ea typeface="Verdana" panose="020B0604030504040204" pitchFamily="34" charset="0"/>
                <a:cs typeface="Open Sans" panose="020B0606030504020204" pitchFamily="34" charset="0"/>
              </a:rPr>
              <a:t> search)</a:t>
            </a:r>
            <a:endParaRPr kumimoji="0" lang="en-US" sz="900" b="0" i="0" u="none" strike="noStrike" kern="1200" cap="none" spc="0" normalizeH="0" baseline="0" noProof="0" dirty="0">
              <a:ln>
                <a:noFill/>
              </a:ln>
              <a:solidFill>
                <a:schemeClr val="tx1">
                  <a:lumMod val="50000"/>
                  <a:lumOff val="50000"/>
                </a:schemeClr>
              </a:solidFill>
              <a:effectLst/>
              <a:uLnTx/>
              <a:uFillTx/>
              <a:latin typeface="Open Sans"/>
            </a:endParaRPr>
          </a:p>
        </p:txBody>
      </p:sp>
      <p:cxnSp>
        <p:nvCxnSpPr>
          <p:cNvPr id="46" name="Straight Arrow Connector 45">
            <a:extLst>
              <a:ext uri="{FF2B5EF4-FFF2-40B4-BE49-F238E27FC236}">
                <a16:creationId xmlns:a16="http://schemas.microsoft.com/office/drawing/2014/main" id="{35046DF2-EA30-B3A4-5C64-04345C58BD98}"/>
              </a:ext>
            </a:extLst>
          </p:cNvPr>
          <p:cNvCxnSpPr>
            <a:cxnSpLocks/>
          </p:cNvCxnSpPr>
          <p:nvPr/>
        </p:nvCxnSpPr>
        <p:spPr>
          <a:xfrm>
            <a:off x="2889846" y="2696588"/>
            <a:ext cx="0" cy="754123"/>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381FCAA-2D04-F674-1695-5B16775BD9AC}"/>
              </a:ext>
            </a:extLst>
          </p:cNvPr>
          <p:cNvSpPr txBox="1"/>
          <p:nvPr/>
        </p:nvSpPr>
        <p:spPr>
          <a:xfrm>
            <a:off x="3253594" y="2873594"/>
            <a:ext cx="892246" cy="446276"/>
          </a:xfrm>
          <a:prstGeom prst="rect">
            <a:avLst/>
          </a:prstGeom>
          <a:noFill/>
        </p:spPr>
        <p:txBody>
          <a:bodyPr wrap="square" lIns="0" rIns="0" rtlCol="0">
            <a:spAutoFit/>
          </a:bodyPr>
          <a:lstStyle/>
          <a:p>
            <a:pPr defTabSz="914400">
              <a:spcBef>
                <a:spcPts val="600"/>
              </a:spcBef>
              <a:defRPr/>
            </a:pPr>
            <a:r>
              <a:rPr lang="pt-PT" sz="900" b="1" spc="100" dirty="0" err="1">
                <a:solidFill>
                  <a:schemeClr val="tx1">
                    <a:lumMod val="50000"/>
                    <a:lumOff val="50000"/>
                  </a:schemeClr>
                </a:solidFill>
                <a:latin typeface="Open Sans"/>
                <a:ea typeface="Verdana" panose="020B0604030504040204" pitchFamily="34" charset="0"/>
                <a:cs typeface="Open Sans" panose="020B0606030504020204" pitchFamily="34" charset="0"/>
              </a:rPr>
              <a:t>Context</a:t>
            </a:r>
            <a:endPar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endParaRPr>
          </a:p>
          <a:p>
            <a:pPr defTabSz="914400">
              <a:spcBef>
                <a:spcPts val="600"/>
              </a:spcBef>
              <a:defRPr/>
            </a:pPr>
            <a:r>
              <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rPr>
              <a:t>(</a:t>
            </a:r>
            <a:r>
              <a:rPr lang="pt-PT" sz="900" b="1" spc="100" dirty="0" err="1">
                <a:solidFill>
                  <a:schemeClr val="tx1">
                    <a:lumMod val="50000"/>
                    <a:lumOff val="50000"/>
                  </a:schemeClr>
                </a:solidFill>
                <a:latin typeface="Open Sans"/>
                <a:ea typeface="Verdana" panose="020B0604030504040204" pitchFamily="34" charset="0"/>
                <a:cs typeface="Open Sans" panose="020B0606030504020204" pitchFamily="34" charset="0"/>
              </a:rPr>
              <a:t>chunks</a:t>
            </a:r>
            <a:r>
              <a:rPr lang="pt-PT" sz="900" b="1" spc="100" dirty="0">
                <a:solidFill>
                  <a:schemeClr val="tx1">
                    <a:lumMod val="50000"/>
                    <a:lumOff val="50000"/>
                  </a:schemeClr>
                </a:solidFill>
                <a:latin typeface="Open Sans"/>
                <a:ea typeface="Verdana" panose="020B0604030504040204" pitchFamily="34" charset="0"/>
                <a:cs typeface="Open Sans" panose="020B0606030504020204" pitchFamily="34" charset="0"/>
              </a:rPr>
              <a:t>)</a:t>
            </a:r>
            <a:endParaRPr lang="en-US" sz="900" b="1" spc="100" dirty="0">
              <a:solidFill>
                <a:schemeClr val="tx1">
                  <a:lumMod val="50000"/>
                  <a:lumOff val="50000"/>
                </a:schemeClr>
              </a:solidFill>
              <a:latin typeface="Open Sans"/>
              <a:ea typeface="Verdana" panose="020B060403050404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728ACA84-1AB9-3684-1908-777D348C13E6}"/>
              </a:ext>
            </a:extLst>
          </p:cNvPr>
          <p:cNvSpPr txBox="1"/>
          <p:nvPr/>
        </p:nvSpPr>
        <p:spPr>
          <a:xfrm>
            <a:off x="1304581" y="1326122"/>
            <a:ext cx="6100232" cy="261610"/>
          </a:xfrm>
          <a:prstGeom prst="rect">
            <a:avLst/>
          </a:prstGeom>
          <a:noFill/>
        </p:spPr>
        <p:txBody>
          <a:bodyPr wrap="square">
            <a:spAutoFit/>
          </a:bodyPr>
          <a:lstStyle/>
          <a:p>
            <a:r>
              <a:rPr lang="en-US" sz="1100" b="1" dirty="0"/>
              <a:t>High-level RAG architecture</a:t>
            </a:r>
            <a:endParaRPr lang="pt-PT" sz="1100" b="1" dirty="0"/>
          </a:p>
        </p:txBody>
      </p:sp>
      <p:grpSp>
        <p:nvGrpSpPr>
          <p:cNvPr id="50" name="Group 49">
            <a:extLst>
              <a:ext uri="{FF2B5EF4-FFF2-40B4-BE49-F238E27FC236}">
                <a16:creationId xmlns:a16="http://schemas.microsoft.com/office/drawing/2014/main" id="{92E4EC88-C49B-A392-3FC2-B20007B0E71F}"/>
              </a:ext>
            </a:extLst>
          </p:cNvPr>
          <p:cNvGrpSpPr/>
          <p:nvPr/>
        </p:nvGrpSpPr>
        <p:grpSpPr>
          <a:xfrm>
            <a:off x="1348790" y="4509698"/>
            <a:ext cx="4108113" cy="746358"/>
            <a:chOff x="6751078" y="4878918"/>
            <a:chExt cx="4108113" cy="746358"/>
          </a:xfrm>
        </p:grpSpPr>
        <p:sp>
          <p:nvSpPr>
            <p:cNvPr id="51" name="TextBox 50">
              <a:extLst>
                <a:ext uri="{FF2B5EF4-FFF2-40B4-BE49-F238E27FC236}">
                  <a16:creationId xmlns:a16="http://schemas.microsoft.com/office/drawing/2014/main" id="{AC946388-927E-035F-7B58-8244402B1017}"/>
                </a:ext>
              </a:extLst>
            </p:cNvPr>
            <p:cNvSpPr txBox="1"/>
            <p:nvPr/>
          </p:nvSpPr>
          <p:spPr>
            <a:xfrm>
              <a:off x="6751078" y="4878918"/>
              <a:ext cx="4108113" cy="746358"/>
            </a:xfrm>
            <a:prstGeom prst="rect">
              <a:avLst/>
            </a:prstGeom>
            <a:noFill/>
            <a:ln>
              <a:solidFill>
                <a:schemeClr val="accent2"/>
              </a:solidFill>
              <a:prstDash val="dash"/>
            </a:ln>
          </p:spPr>
          <p:txBody>
            <a:bodyPr wrap="square" rtlCol="0">
              <a:spAutoFit/>
            </a:bodyPr>
            <a:lstStyle/>
            <a:p>
              <a:r>
                <a:rPr lang="en-US" sz="1100" b="1" dirty="0"/>
                <a:t>Libraries and components:</a:t>
              </a:r>
            </a:p>
            <a:p>
              <a:pPr marL="171450" indent="-171450">
                <a:buFont typeface="Arial" panose="020B0604020202020204" pitchFamily="34" charset="0"/>
                <a:buChar char="•"/>
              </a:pPr>
              <a:endParaRPr lang="en-US" sz="1050" dirty="0"/>
            </a:p>
            <a:p>
              <a:endParaRPr lang="en-US" sz="1050" dirty="0"/>
            </a:p>
            <a:p>
              <a:endParaRPr lang="en-US" sz="1050" dirty="0"/>
            </a:p>
          </p:txBody>
        </p:sp>
        <p:pic>
          <p:nvPicPr>
            <p:cNvPr id="52" name="Picture 51" descr="A logo with text on it&#10;&#10;Description automatically generated">
              <a:extLst>
                <a:ext uri="{FF2B5EF4-FFF2-40B4-BE49-F238E27FC236}">
                  <a16:creationId xmlns:a16="http://schemas.microsoft.com/office/drawing/2014/main" id="{03814751-8E2E-E6E7-1B19-DFD8DE03E264}"/>
                </a:ext>
              </a:extLst>
            </p:cNvPr>
            <p:cNvPicPr>
              <a:picLocks noChangeAspect="1"/>
            </p:cNvPicPr>
            <p:nvPr/>
          </p:nvPicPr>
          <p:blipFill rotWithShape="1">
            <a:blip r:embed="rId6">
              <a:extLst>
                <a:ext uri="{28A0092B-C50C-407E-A947-70E740481C1C}">
                  <a14:useLocalDpi xmlns:a14="http://schemas.microsoft.com/office/drawing/2010/main" val="0"/>
                </a:ext>
              </a:extLst>
            </a:blip>
            <a:srcRect t="27765" b="33150"/>
            <a:stretch/>
          </p:blipFill>
          <p:spPr>
            <a:xfrm>
              <a:off x="6808347" y="5240564"/>
              <a:ext cx="749770" cy="255010"/>
            </a:xfrm>
            <a:prstGeom prst="rect">
              <a:avLst/>
            </a:prstGeom>
          </p:spPr>
        </p:pic>
        <p:pic>
          <p:nvPicPr>
            <p:cNvPr id="54" name="Picture 6" descr="Langchain: Building Powerful Language Model Applications ...">
              <a:extLst>
                <a:ext uri="{FF2B5EF4-FFF2-40B4-BE49-F238E27FC236}">
                  <a16:creationId xmlns:a16="http://schemas.microsoft.com/office/drawing/2014/main" id="{EBDFC85E-CC01-813C-507D-AE8F27B521F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085" t="26877" r="12730" b="31949"/>
            <a:stretch/>
          </p:blipFill>
          <p:spPr bwMode="auto">
            <a:xfrm>
              <a:off x="7676919" y="5240564"/>
              <a:ext cx="853914" cy="25501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a:extLst>
                <a:ext uri="{FF2B5EF4-FFF2-40B4-BE49-F238E27FC236}">
                  <a16:creationId xmlns:a16="http://schemas.microsoft.com/office/drawing/2014/main" id="{3101E8EB-6063-3F92-0F10-67BA039449E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30954" y="5240564"/>
              <a:ext cx="408016" cy="255010"/>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2" descr="ChatGPT Logo PNG Vector (PDF) Free Download">
              <a:extLst>
                <a:ext uri="{FF2B5EF4-FFF2-40B4-BE49-F238E27FC236}">
                  <a16:creationId xmlns:a16="http://schemas.microsoft.com/office/drawing/2014/main" id="{D2147BF9-D276-D288-57F1-74110C9FD9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8408" y="5228567"/>
              <a:ext cx="285142" cy="288995"/>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AE7C741B-5BEB-EB50-F4F6-FE25C35AC491}"/>
                </a:ext>
              </a:extLst>
            </p:cNvPr>
            <p:cNvPicPr>
              <a:picLocks noChangeAspect="1"/>
            </p:cNvPicPr>
            <p:nvPr/>
          </p:nvPicPr>
          <p:blipFill>
            <a:blip r:embed="rId9"/>
            <a:srcRect/>
            <a:stretch/>
          </p:blipFill>
          <p:spPr>
            <a:xfrm>
              <a:off x="9809669" y="5187434"/>
              <a:ext cx="890379" cy="310043"/>
            </a:xfrm>
            <a:prstGeom prst="rect">
              <a:avLst/>
            </a:prstGeom>
          </p:spPr>
        </p:pic>
      </p:grpSp>
    </p:spTree>
    <p:extLst>
      <p:ext uri="{BB962C8B-B14F-4D97-AF65-F5344CB8AC3E}">
        <p14:creationId xmlns:p14="http://schemas.microsoft.com/office/powerpoint/2010/main" val="251314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4A844-1F71-CABA-C439-B2E64F3774AE}"/>
            </a:ext>
          </a:extLst>
        </p:cNvPr>
        <p:cNvGrpSpPr/>
        <p:nvPr/>
      </p:nvGrpSpPr>
      <p:grpSpPr>
        <a:xfrm>
          <a:off x="0" y="0"/>
          <a:ext cx="0" cy="0"/>
          <a:chOff x="0" y="0"/>
          <a:chExt cx="0" cy="0"/>
        </a:xfrm>
      </p:grpSpPr>
      <p:sp>
        <p:nvSpPr>
          <p:cNvPr id="53" name="Text Placeholder 5">
            <a:extLst>
              <a:ext uri="{FF2B5EF4-FFF2-40B4-BE49-F238E27FC236}">
                <a16:creationId xmlns:a16="http://schemas.microsoft.com/office/drawing/2014/main" id="{E18F3EC1-2AB1-0CDF-FF9E-843BA04DBF20}"/>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GB" dirty="0"/>
              <a:t>Retrieval-augmented Generation (RAG)</a:t>
            </a:r>
          </a:p>
          <a:p>
            <a:endParaRPr lang="en-GB" dirty="0"/>
          </a:p>
        </p:txBody>
      </p:sp>
      <p:sp>
        <p:nvSpPr>
          <p:cNvPr id="54" name="Title 2">
            <a:extLst>
              <a:ext uri="{FF2B5EF4-FFF2-40B4-BE49-F238E27FC236}">
                <a16:creationId xmlns:a16="http://schemas.microsoft.com/office/drawing/2014/main" id="{5A6A6C92-10AD-631C-1264-071FD4A35A4D}"/>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a:t>Deloitte Tech Experience</a:t>
            </a:r>
          </a:p>
        </p:txBody>
      </p:sp>
      <p:sp>
        <p:nvSpPr>
          <p:cNvPr id="5" name="Rectangle: Rounded Corners 6">
            <a:extLst>
              <a:ext uri="{FF2B5EF4-FFF2-40B4-BE49-F238E27FC236}">
                <a16:creationId xmlns:a16="http://schemas.microsoft.com/office/drawing/2014/main" id="{17101837-024D-A553-A564-F02993733915}"/>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Rounded Corners 38">
            <a:extLst>
              <a:ext uri="{FF2B5EF4-FFF2-40B4-BE49-F238E27FC236}">
                <a16:creationId xmlns:a16="http://schemas.microsoft.com/office/drawing/2014/main" id="{CAAD8BB4-486F-2BD8-221C-A5E1D79975E3}"/>
              </a:ext>
            </a:extLst>
          </p:cNvPr>
          <p:cNvSpPr/>
          <p:nvPr/>
        </p:nvSpPr>
        <p:spPr>
          <a:xfrm>
            <a:off x="374072" y="792431"/>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33" name="Graphic 4">
            <a:extLst>
              <a:ext uri="{FF2B5EF4-FFF2-40B4-BE49-F238E27FC236}">
                <a16:creationId xmlns:a16="http://schemas.microsoft.com/office/drawing/2014/main" id="{1DDA7DB2-D27D-BC4B-AD94-420DA68DCC68}"/>
              </a:ext>
            </a:extLst>
          </p:cNvPr>
          <p:cNvGrpSpPr>
            <a:grpSpLocks noChangeAspect="1"/>
          </p:cNvGrpSpPr>
          <p:nvPr/>
        </p:nvGrpSpPr>
        <p:grpSpPr>
          <a:xfrm>
            <a:off x="428978" y="976058"/>
            <a:ext cx="336972" cy="324000"/>
            <a:chOff x="1573681" y="2918430"/>
            <a:chExt cx="246172" cy="236696"/>
          </a:xfrm>
          <a:solidFill>
            <a:schemeClr val="bg1"/>
          </a:solidFill>
        </p:grpSpPr>
        <p:sp>
          <p:nvSpPr>
            <p:cNvPr id="35" name="Graphic 4">
              <a:extLst>
                <a:ext uri="{FF2B5EF4-FFF2-40B4-BE49-F238E27FC236}">
                  <a16:creationId xmlns:a16="http://schemas.microsoft.com/office/drawing/2014/main" id="{B7F7FE6C-394F-9904-4ADB-42334FC76EFA}"/>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4C24F802-F4A1-99F3-C7FC-653E3DEF3489}"/>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7972DE6F-63CA-04BA-A21A-91ED437A2449}"/>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4A46B2A1-7DD5-C515-C829-167C0B7BB329}"/>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99BB6F84-7497-E05F-B85E-451543CD264A}"/>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CF315690-B4E6-81F5-2513-3C6BF05F4CE7}"/>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grpSp>
        <p:nvGrpSpPr>
          <p:cNvPr id="45" name="Graphic 1100">
            <a:extLst>
              <a:ext uri="{FF2B5EF4-FFF2-40B4-BE49-F238E27FC236}">
                <a16:creationId xmlns:a16="http://schemas.microsoft.com/office/drawing/2014/main" id="{4AFDE50A-3835-D19E-B698-B4A29D40A368}"/>
              </a:ext>
            </a:extLst>
          </p:cNvPr>
          <p:cNvGrpSpPr>
            <a:grpSpLocks noChangeAspect="1"/>
          </p:cNvGrpSpPr>
          <p:nvPr/>
        </p:nvGrpSpPr>
        <p:grpSpPr>
          <a:xfrm>
            <a:off x="447688" y="5314360"/>
            <a:ext cx="263402" cy="360000"/>
            <a:chOff x="5810369" y="1478218"/>
            <a:chExt cx="159748" cy="218332"/>
          </a:xfrm>
          <a:solidFill>
            <a:schemeClr val="bg1"/>
          </a:solidFill>
        </p:grpSpPr>
        <p:sp>
          <p:nvSpPr>
            <p:cNvPr id="47" name="Graphic 1100">
              <a:extLst>
                <a:ext uri="{FF2B5EF4-FFF2-40B4-BE49-F238E27FC236}">
                  <a16:creationId xmlns:a16="http://schemas.microsoft.com/office/drawing/2014/main" id="{C33507C3-5589-D883-AB19-876B4FC54605}"/>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48" name="Graphic 1100">
              <a:extLst>
                <a:ext uri="{FF2B5EF4-FFF2-40B4-BE49-F238E27FC236}">
                  <a16:creationId xmlns:a16="http://schemas.microsoft.com/office/drawing/2014/main" id="{D58D3EBD-4E52-C55A-4854-6C00883DF027}"/>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49" name="Graphic 1100">
              <a:extLst>
                <a:ext uri="{FF2B5EF4-FFF2-40B4-BE49-F238E27FC236}">
                  <a16:creationId xmlns:a16="http://schemas.microsoft.com/office/drawing/2014/main" id="{1EC18F0F-C5F7-5752-0628-9BAC6148D593}"/>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0" name="Graphic 1100">
              <a:extLst>
                <a:ext uri="{FF2B5EF4-FFF2-40B4-BE49-F238E27FC236}">
                  <a16:creationId xmlns:a16="http://schemas.microsoft.com/office/drawing/2014/main" id="{BA17D693-9097-A25A-2C47-F3457554B143}"/>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51" name="Graphic 4">
            <a:extLst>
              <a:ext uri="{FF2B5EF4-FFF2-40B4-BE49-F238E27FC236}">
                <a16:creationId xmlns:a16="http://schemas.microsoft.com/office/drawing/2014/main" id="{A92B7C74-5E24-5658-F4CF-316F717810DB}"/>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52" name="Graphic 4">
              <a:extLst>
                <a:ext uri="{FF2B5EF4-FFF2-40B4-BE49-F238E27FC236}">
                  <a16:creationId xmlns:a16="http://schemas.microsoft.com/office/drawing/2014/main" id="{90F140CC-D644-6C26-F028-0CFC5C8DD99C}"/>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3E0D074B-19CF-151C-2F2D-9AD29C06ADEA}"/>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64" name="Graphic 4">
              <a:extLst>
                <a:ext uri="{FF2B5EF4-FFF2-40B4-BE49-F238E27FC236}">
                  <a16:creationId xmlns:a16="http://schemas.microsoft.com/office/drawing/2014/main" id="{2F24C3D1-0F7E-B3EB-8200-EDF6852D8C6E}"/>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68" name="Graphic 4">
              <a:extLst>
                <a:ext uri="{FF2B5EF4-FFF2-40B4-BE49-F238E27FC236}">
                  <a16:creationId xmlns:a16="http://schemas.microsoft.com/office/drawing/2014/main" id="{ED18AADB-AA89-51CE-C343-73AE49B88473}"/>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6256CBFC-B657-7E44-DE60-EDFD776BB038}"/>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73" name="Graphic 1100">
            <a:extLst>
              <a:ext uri="{FF2B5EF4-FFF2-40B4-BE49-F238E27FC236}">
                <a16:creationId xmlns:a16="http://schemas.microsoft.com/office/drawing/2014/main" id="{5C9A5728-275B-CF8C-12FB-F289EAD1AE2E}"/>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74" name="Graphic 1100">
              <a:extLst>
                <a:ext uri="{FF2B5EF4-FFF2-40B4-BE49-F238E27FC236}">
                  <a16:creationId xmlns:a16="http://schemas.microsoft.com/office/drawing/2014/main" id="{B80AA73B-4AE7-3351-7308-F9B3A5FB9FAD}"/>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75" name="Graphic 1100">
              <a:extLst>
                <a:ext uri="{FF2B5EF4-FFF2-40B4-BE49-F238E27FC236}">
                  <a16:creationId xmlns:a16="http://schemas.microsoft.com/office/drawing/2014/main" id="{FCFDE04A-8765-B213-AAE4-68AE521BCAA4}"/>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76" name="Graphic 1100">
              <a:extLst>
                <a:ext uri="{FF2B5EF4-FFF2-40B4-BE49-F238E27FC236}">
                  <a16:creationId xmlns:a16="http://schemas.microsoft.com/office/drawing/2014/main" id="{B5AEBC45-D1C7-C681-5173-A0B657A0CF4F}"/>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77" name="Graphic 1100">
              <a:extLst>
                <a:ext uri="{FF2B5EF4-FFF2-40B4-BE49-F238E27FC236}">
                  <a16:creationId xmlns:a16="http://schemas.microsoft.com/office/drawing/2014/main" id="{D80C6309-16D2-DEF7-93BD-D63672F7E9ED}"/>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78" name="Graphic 4">
            <a:extLst>
              <a:ext uri="{FF2B5EF4-FFF2-40B4-BE49-F238E27FC236}">
                <a16:creationId xmlns:a16="http://schemas.microsoft.com/office/drawing/2014/main" id="{43B43166-AC64-66A8-CCBA-169E383CBB72}"/>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79" name="Graphic 4">
              <a:extLst>
                <a:ext uri="{FF2B5EF4-FFF2-40B4-BE49-F238E27FC236}">
                  <a16:creationId xmlns:a16="http://schemas.microsoft.com/office/drawing/2014/main" id="{2AD2C378-EFB4-2E0F-27FF-FF1AC212AF7E}"/>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80" name="Graphic 4">
              <a:extLst>
                <a:ext uri="{FF2B5EF4-FFF2-40B4-BE49-F238E27FC236}">
                  <a16:creationId xmlns:a16="http://schemas.microsoft.com/office/drawing/2014/main" id="{6D6D3104-B4AE-FACC-09D1-3E931C50AEA4}"/>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1" name="Graphic 4">
              <a:extLst>
                <a:ext uri="{FF2B5EF4-FFF2-40B4-BE49-F238E27FC236}">
                  <a16:creationId xmlns:a16="http://schemas.microsoft.com/office/drawing/2014/main" id="{4A1DA2A4-C5CA-7300-7C29-C09332A64335}"/>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DE5E7FE1-083B-B9B1-3309-789126DA09AC}"/>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EC64A5F3-E850-ED24-4EAA-48E7C6922AB4}"/>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48BBD31E-AF1B-4395-F583-DC99478A8F6E}"/>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85" name="Graphic 4">
            <a:extLst>
              <a:ext uri="{FF2B5EF4-FFF2-40B4-BE49-F238E27FC236}">
                <a16:creationId xmlns:a16="http://schemas.microsoft.com/office/drawing/2014/main" id="{B7C7B47E-456B-643C-CB1E-CAC2DF78EDE1}"/>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pic>
        <p:nvPicPr>
          <p:cNvPr id="86" name="Graphic 85" descr="Upward trend with solid fill">
            <a:extLst>
              <a:ext uri="{FF2B5EF4-FFF2-40B4-BE49-F238E27FC236}">
                <a16:creationId xmlns:a16="http://schemas.microsoft.com/office/drawing/2014/main" id="{5544B51A-71BA-3B8C-872F-B686919B76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9163" y="1831574"/>
            <a:ext cx="324000" cy="324000"/>
          </a:xfrm>
          <a:prstGeom prst="rect">
            <a:avLst/>
          </a:prstGeom>
        </p:spPr>
      </p:pic>
      <p:sp>
        <p:nvSpPr>
          <p:cNvPr id="87" name="Rectangle 86">
            <a:extLst>
              <a:ext uri="{FF2B5EF4-FFF2-40B4-BE49-F238E27FC236}">
                <a16:creationId xmlns:a16="http://schemas.microsoft.com/office/drawing/2014/main" id="{64EFDE72-FD75-04EF-5F6A-36AA9E10A68F}"/>
              </a:ext>
            </a:extLst>
          </p:cNvPr>
          <p:cNvSpPr/>
          <p:nvPr/>
        </p:nvSpPr>
        <p:spPr>
          <a:xfrm>
            <a:off x="2045966" y="3476175"/>
            <a:ext cx="8925163" cy="2023855"/>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ndParaRPr>
          </a:p>
        </p:txBody>
      </p:sp>
      <p:sp>
        <p:nvSpPr>
          <p:cNvPr id="88" name="Pentagon 23">
            <a:extLst>
              <a:ext uri="{FF2B5EF4-FFF2-40B4-BE49-F238E27FC236}">
                <a16:creationId xmlns:a16="http://schemas.microsoft.com/office/drawing/2014/main" id="{625EDF87-68F8-0E9F-6D95-CBB3C707EFAE}"/>
              </a:ext>
            </a:extLst>
          </p:cNvPr>
          <p:cNvSpPr/>
          <p:nvPr/>
        </p:nvSpPr>
        <p:spPr bwMode="gray">
          <a:xfrm>
            <a:off x="2045966" y="3480755"/>
            <a:ext cx="8925163" cy="254958"/>
          </a:xfrm>
          <a:prstGeom prst="homePlate">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88900" rIns="88900" bIns="88900" rtlCol="0" anchor="ctr"/>
          <a:lstStyle/>
          <a:p>
            <a:pPr algn="ctr"/>
            <a:r>
              <a:rPr lang="en-US" sz="105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ECTOR-BASED KNOWLEDGE</a:t>
            </a:r>
          </a:p>
        </p:txBody>
      </p:sp>
      <p:sp>
        <p:nvSpPr>
          <p:cNvPr id="89" name="TextBox 88">
            <a:extLst>
              <a:ext uri="{FF2B5EF4-FFF2-40B4-BE49-F238E27FC236}">
                <a16:creationId xmlns:a16="http://schemas.microsoft.com/office/drawing/2014/main" id="{813DD167-72BA-42E6-2496-A77C4F827F5E}"/>
              </a:ext>
            </a:extLst>
          </p:cNvPr>
          <p:cNvSpPr txBox="1"/>
          <p:nvPr/>
        </p:nvSpPr>
        <p:spPr>
          <a:xfrm>
            <a:off x="2664388" y="4954241"/>
            <a:ext cx="1044969" cy="307777"/>
          </a:xfrm>
          <a:prstGeom prst="rect">
            <a:avLst/>
          </a:prstGeom>
          <a:noFill/>
        </p:spPr>
        <p:txBody>
          <a:bodyPr wrap="square" lIns="0" tIns="0" rIns="0" bIns="0" rtlCol="0">
            <a:spAutoFit/>
          </a:bodyPr>
          <a:lstStyle/>
          <a:p>
            <a:pPr algn="ctr">
              <a:spcBef>
                <a:spcPts val="600"/>
              </a:spcBef>
              <a:buSzPct val="100000"/>
            </a:pPr>
            <a:r>
              <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Private Knowledge Base</a:t>
            </a:r>
          </a:p>
        </p:txBody>
      </p:sp>
      <p:cxnSp>
        <p:nvCxnSpPr>
          <p:cNvPr id="90" name="Straight Arrow Connector 89">
            <a:extLst>
              <a:ext uri="{FF2B5EF4-FFF2-40B4-BE49-F238E27FC236}">
                <a16:creationId xmlns:a16="http://schemas.microsoft.com/office/drawing/2014/main" id="{F0AB6680-7DA3-87DA-158B-3669E5E39A36}"/>
              </a:ext>
            </a:extLst>
          </p:cNvPr>
          <p:cNvCxnSpPr>
            <a:cxnSpLocks/>
          </p:cNvCxnSpPr>
          <p:nvPr/>
        </p:nvCxnSpPr>
        <p:spPr>
          <a:xfrm>
            <a:off x="4194458" y="4483846"/>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1" name="Graphic 1100">
            <a:extLst>
              <a:ext uri="{FF2B5EF4-FFF2-40B4-BE49-F238E27FC236}">
                <a16:creationId xmlns:a16="http://schemas.microsoft.com/office/drawing/2014/main" id="{2772BEE0-B8D0-B4D5-8524-D2E4D4147921}"/>
              </a:ext>
            </a:extLst>
          </p:cNvPr>
          <p:cNvGrpSpPr>
            <a:grpSpLocks noChangeAspect="1"/>
          </p:cNvGrpSpPr>
          <p:nvPr/>
        </p:nvGrpSpPr>
        <p:grpSpPr>
          <a:xfrm>
            <a:off x="2508207" y="4157227"/>
            <a:ext cx="336173" cy="360000"/>
            <a:chOff x="4741333" y="993673"/>
            <a:chExt cx="204477" cy="218970"/>
          </a:xfrm>
          <a:solidFill>
            <a:schemeClr val="tx1"/>
          </a:solidFill>
        </p:grpSpPr>
        <p:sp>
          <p:nvSpPr>
            <p:cNvPr id="92" name="Graphic 1100">
              <a:extLst>
                <a:ext uri="{FF2B5EF4-FFF2-40B4-BE49-F238E27FC236}">
                  <a16:creationId xmlns:a16="http://schemas.microsoft.com/office/drawing/2014/main" id="{B7FE3BF6-3079-3F91-6962-292447844DD2}"/>
                </a:ext>
              </a:extLst>
            </p:cNvPr>
            <p:cNvSpPr/>
            <p:nvPr/>
          </p:nvSpPr>
          <p:spPr>
            <a:xfrm>
              <a:off x="4741333" y="993673"/>
              <a:ext cx="204477" cy="218970"/>
            </a:xfrm>
            <a:custGeom>
              <a:avLst/>
              <a:gdLst>
                <a:gd name="connsiteX0" fmla="*/ 197449 w 204477"/>
                <a:gd name="connsiteY0" fmla="*/ 81077 h 218970"/>
                <a:gd name="connsiteX1" fmla="*/ 181474 w 204477"/>
                <a:gd name="connsiteY1" fmla="*/ 81077 h 218970"/>
                <a:gd name="connsiteX2" fmla="*/ 181474 w 204477"/>
                <a:gd name="connsiteY2" fmla="*/ 58094 h 218970"/>
                <a:gd name="connsiteX3" fmla="*/ 180835 w 204477"/>
                <a:gd name="connsiteY3" fmla="*/ 55541 h 218970"/>
                <a:gd name="connsiteX4" fmla="*/ 179557 w 204477"/>
                <a:gd name="connsiteY4" fmla="*/ 53626 h 218970"/>
                <a:gd name="connsiteX5" fmla="*/ 127799 w 204477"/>
                <a:gd name="connsiteY5" fmla="*/ 1915 h 218970"/>
                <a:gd name="connsiteX6" fmla="*/ 125882 w 204477"/>
                <a:gd name="connsiteY6" fmla="*/ 638 h 218970"/>
                <a:gd name="connsiteX7" fmla="*/ 123326 w 204477"/>
                <a:gd name="connsiteY7" fmla="*/ 0 h 218970"/>
                <a:gd name="connsiteX8" fmla="*/ 27477 w 204477"/>
                <a:gd name="connsiteY8" fmla="*/ 0 h 218970"/>
                <a:gd name="connsiteX9" fmla="*/ 21087 w 204477"/>
                <a:gd name="connsiteY9" fmla="*/ 6384 h 218970"/>
                <a:gd name="connsiteX10" fmla="*/ 21087 w 204477"/>
                <a:gd name="connsiteY10" fmla="*/ 81077 h 218970"/>
                <a:gd name="connsiteX11" fmla="*/ 6390 w 204477"/>
                <a:gd name="connsiteY11" fmla="*/ 81077 h 218970"/>
                <a:gd name="connsiteX12" fmla="*/ 0 w 204477"/>
                <a:gd name="connsiteY12" fmla="*/ 87461 h 218970"/>
                <a:gd name="connsiteX13" fmla="*/ 0 w 204477"/>
                <a:gd name="connsiteY13" fmla="*/ 183220 h 218970"/>
                <a:gd name="connsiteX14" fmla="*/ 6390 w 204477"/>
                <a:gd name="connsiteY14" fmla="*/ 189604 h 218970"/>
                <a:gd name="connsiteX15" fmla="*/ 22365 w 204477"/>
                <a:gd name="connsiteY15" fmla="*/ 189604 h 218970"/>
                <a:gd name="connsiteX16" fmla="*/ 22365 w 204477"/>
                <a:gd name="connsiteY16" fmla="*/ 212587 h 218970"/>
                <a:gd name="connsiteX17" fmla="*/ 28755 w 204477"/>
                <a:gd name="connsiteY17" fmla="*/ 218971 h 218970"/>
                <a:gd name="connsiteX18" fmla="*/ 175723 w 204477"/>
                <a:gd name="connsiteY18" fmla="*/ 218971 h 218970"/>
                <a:gd name="connsiteX19" fmla="*/ 182113 w 204477"/>
                <a:gd name="connsiteY19" fmla="*/ 212587 h 218970"/>
                <a:gd name="connsiteX20" fmla="*/ 182113 w 204477"/>
                <a:gd name="connsiteY20" fmla="*/ 188966 h 218970"/>
                <a:gd name="connsiteX21" fmla="*/ 198088 w 204477"/>
                <a:gd name="connsiteY21" fmla="*/ 188966 h 218970"/>
                <a:gd name="connsiteX22" fmla="*/ 204478 w 204477"/>
                <a:gd name="connsiteY22" fmla="*/ 182582 h 218970"/>
                <a:gd name="connsiteX23" fmla="*/ 204478 w 204477"/>
                <a:gd name="connsiteY23" fmla="*/ 86822 h 218970"/>
                <a:gd name="connsiteX24" fmla="*/ 197449 w 204477"/>
                <a:gd name="connsiteY24" fmla="*/ 81077 h 218970"/>
                <a:gd name="connsiteX25" fmla="*/ 130355 w 204477"/>
                <a:gd name="connsiteY25" fmla="*/ 21706 h 218970"/>
                <a:gd name="connsiteX26" fmla="*/ 160387 w 204477"/>
                <a:gd name="connsiteY26" fmla="*/ 51072 h 218970"/>
                <a:gd name="connsiteX27" fmla="*/ 130994 w 204477"/>
                <a:gd name="connsiteY27" fmla="*/ 51072 h 218970"/>
                <a:gd name="connsiteX28" fmla="*/ 130355 w 204477"/>
                <a:gd name="connsiteY28" fmla="*/ 21706 h 218970"/>
                <a:gd name="connsiteX29" fmla="*/ 34506 w 204477"/>
                <a:gd name="connsiteY29" fmla="*/ 12768 h 218970"/>
                <a:gd name="connsiteX30" fmla="*/ 117575 w 204477"/>
                <a:gd name="connsiteY30" fmla="*/ 12768 h 218970"/>
                <a:gd name="connsiteX31" fmla="*/ 117575 w 204477"/>
                <a:gd name="connsiteY31" fmla="*/ 58094 h 218970"/>
                <a:gd name="connsiteX32" fmla="*/ 123965 w 204477"/>
                <a:gd name="connsiteY32" fmla="*/ 64478 h 218970"/>
                <a:gd name="connsiteX33" fmla="*/ 169333 w 204477"/>
                <a:gd name="connsiteY33" fmla="*/ 64478 h 218970"/>
                <a:gd name="connsiteX34" fmla="*/ 169333 w 204477"/>
                <a:gd name="connsiteY34" fmla="*/ 81077 h 218970"/>
                <a:gd name="connsiteX35" fmla="*/ 35145 w 204477"/>
                <a:gd name="connsiteY35" fmla="*/ 81077 h 218970"/>
                <a:gd name="connsiteX36" fmla="*/ 34506 w 204477"/>
                <a:gd name="connsiteY36" fmla="*/ 12768 h 218970"/>
                <a:gd name="connsiteX37" fmla="*/ 168695 w 204477"/>
                <a:gd name="connsiteY37" fmla="*/ 205564 h 218970"/>
                <a:gd name="connsiteX38" fmla="*/ 34506 w 204477"/>
                <a:gd name="connsiteY38" fmla="*/ 205564 h 218970"/>
                <a:gd name="connsiteX39" fmla="*/ 34506 w 204477"/>
                <a:gd name="connsiteY39" fmla="*/ 188966 h 218970"/>
                <a:gd name="connsiteX40" fmla="*/ 168695 w 204477"/>
                <a:gd name="connsiteY40" fmla="*/ 188966 h 218970"/>
                <a:gd name="connsiteX41" fmla="*/ 168695 w 204477"/>
                <a:gd name="connsiteY41" fmla="*/ 205564 h 218970"/>
                <a:gd name="connsiteX42" fmla="*/ 190420 w 204477"/>
                <a:gd name="connsiteY42" fmla="*/ 176198 h 218970"/>
                <a:gd name="connsiteX43" fmla="*/ 12780 w 204477"/>
                <a:gd name="connsiteY43" fmla="*/ 176198 h 218970"/>
                <a:gd name="connsiteX44" fmla="*/ 12780 w 204477"/>
                <a:gd name="connsiteY44" fmla="*/ 93206 h 218970"/>
                <a:gd name="connsiteX45" fmla="*/ 191059 w 204477"/>
                <a:gd name="connsiteY45" fmla="*/ 93206 h 218970"/>
                <a:gd name="connsiteX46" fmla="*/ 190420 w 204477"/>
                <a:gd name="connsiteY46" fmla="*/ 176198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4477" h="218970">
                  <a:moveTo>
                    <a:pt x="197449" y="81077"/>
                  </a:moveTo>
                  <a:lnTo>
                    <a:pt x="181474" y="81077"/>
                  </a:lnTo>
                  <a:lnTo>
                    <a:pt x="181474" y="58094"/>
                  </a:lnTo>
                  <a:cubicBezTo>
                    <a:pt x="181474" y="57456"/>
                    <a:pt x="181474" y="56179"/>
                    <a:pt x="180835" y="55541"/>
                  </a:cubicBezTo>
                  <a:cubicBezTo>
                    <a:pt x="180835" y="54902"/>
                    <a:pt x="180196" y="54264"/>
                    <a:pt x="179557" y="53626"/>
                  </a:cubicBezTo>
                  <a:lnTo>
                    <a:pt x="127799" y="1915"/>
                  </a:lnTo>
                  <a:cubicBezTo>
                    <a:pt x="127160" y="1277"/>
                    <a:pt x="126521" y="638"/>
                    <a:pt x="125882" y="638"/>
                  </a:cubicBezTo>
                  <a:cubicBezTo>
                    <a:pt x="125243" y="638"/>
                    <a:pt x="124604" y="0"/>
                    <a:pt x="123326" y="0"/>
                  </a:cubicBezTo>
                  <a:lnTo>
                    <a:pt x="27477" y="0"/>
                  </a:lnTo>
                  <a:cubicBezTo>
                    <a:pt x="23643" y="0"/>
                    <a:pt x="21087" y="2554"/>
                    <a:pt x="21087" y="6384"/>
                  </a:cubicBezTo>
                  <a:lnTo>
                    <a:pt x="21087" y="81077"/>
                  </a:lnTo>
                  <a:lnTo>
                    <a:pt x="6390" y="81077"/>
                  </a:lnTo>
                  <a:cubicBezTo>
                    <a:pt x="2556" y="81077"/>
                    <a:pt x="0" y="83630"/>
                    <a:pt x="0" y="87461"/>
                  </a:cubicBezTo>
                  <a:lnTo>
                    <a:pt x="0" y="183220"/>
                  </a:lnTo>
                  <a:cubicBezTo>
                    <a:pt x="0" y="187051"/>
                    <a:pt x="2556" y="189604"/>
                    <a:pt x="6390" y="189604"/>
                  </a:cubicBezTo>
                  <a:lnTo>
                    <a:pt x="22365" y="189604"/>
                  </a:lnTo>
                  <a:lnTo>
                    <a:pt x="22365" y="212587"/>
                  </a:lnTo>
                  <a:cubicBezTo>
                    <a:pt x="22365" y="216417"/>
                    <a:pt x="24921" y="218971"/>
                    <a:pt x="28755" y="218971"/>
                  </a:cubicBezTo>
                  <a:lnTo>
                    <a:pt x="175723" y="218971"/>
                  </a:lnTo>
                  <a:cubicBezTo>
                    <a:pt x="179557" y="218971"/>
                    <a:pt x="182113" y="216417"/>
                    <a:pt x="182113" y="212587"/>
                  </a:cubicBezTo>
                  <a:lnTo>
                    <a:pt x="182113" y="188966"/>
                  </a:lnTo>
                  <a:lnTo>
                    <a:pt x="198088" y="188966"/>
                  </a:lnTo>
                  <a:cubicBezTo>
                    <a:pt x="201922" y="188966"/>
                    <a:pt x="204478" y="186412"/>
                    <a:pt x="204478" y="182582"/>
                  </a:cubicBezTo>
                  <a:lnTo>
                    <a:pt x="204478" y="86822"/>
                  </a:lnTo>
                  <a:cubicBezTo>
                    <a:pt x="203839" y="83630"/>
                    <a:pt x="200644" y="81077"/>
                    <a:pt x="197449" y="81077"/>
                  </a:cubicBezTo>
                  <a:close/>
                  <a:moveTo>
                    <a:pt x="130355" y="21706"/>
                  </a:moveTo>
                  <a:lnTo>
                    <a:pt x="160387" y="51072"/>
                  </a:lnTo>
                  <a:lnTo>
                    <a:pt x="130994" y="51072"/>
                  </a:lnTo>
                  <a:lnTo>
                    <a:pt x="130355" y="21706"/>
                  </a:lnTo>
                  <a:close/>
                  <a:moveTo>
                    <a:pt x="34506" y="12768"/>
                  </a:moveTo>
                  <a:lnTo>
                    <a:pt x="117575" y="12768"/>
                  </a:lnTo>
                  <a:lnTo>
                    <a:pt x="117575" y="58094"/>
                  </a:lnTo>
                  <a:cubicBezTo>
                    <a:pt x="117575" y="61925"/>
                    <a:pt x="120131" y="64478"/>
                    <a:pt x="123965" y="64478"/>
                  </a:cubicBezTo>
                  <a:lnTo>
                    <a:pt x="169333" y="64478"/>
                  </a:lnTo>
                  <a:lnTo>
                    <a:pt x="169333" y="81077"/>
                  </a:lnTo>
                  <a:lnTo>
                    <a:pt x="35145" y="81077"/>
                  </a:lnTo>
                  <a:lnTo>
                    <a:pt x="34506" y="12768"/>
                  </a:lnTo>
                  <a:close/>
                  <a:moveTo>
                    <a:pt x="168695" y="205564"/>
                  </a:moveTo>
                  <a:lnTo>
                    <a:pt x="34506" y="205564"/>
                  </a:lnTo>
                  <a:lnTo>
                    <a:pt x="34506" y="188966"/>
                  </a:lnTo>
                  <a:lnTo>
                    <a:pt x="168695" y="188966"/>
                  </a:lnTo>
                  <a:lnTo>
                    <a:pt x="168695" y="205564"/>
                  </a:lnTo>
                  <a:close/>
                  <a:moveTo>
                    <a:pt x="190420" y="176198"/>
                  </a:moveTo>
                  <a:lnTo>
                    <a:pt x="12780" y="176198"/>
                  </a:lnTo>
                  <a:lnTo>
                    <a:pt x="12780" y="93206"/>
                  </a:lnTo>
                  <a:lnTo>
                    <a:pt x="191059" y="93206"/>
                  </a:lnTo>
                  <a:lnTo>
                    <a:pt x="190420" y="176198"/>
                  </a:lnTo>
                  <a:close/>
                </a:path>
              </a:pathLst>
            </a:custGeom>
            <a:grpFill/>
            <a:ln w="6390" cap="flat">
              <a:noFill/>
              <a:prstDash val="solid"/>
              <a:miter/>
            </a:ln>
          </p:spPr>
          <p:txBody>
            <a:bodyPr rtlCol="0" anchor="ctr"/>
            <a:lstStyle/>
            <a:p>
              <a:endParaRPr lang="en-US"/>
            </a:p>
          </p:txBody>
        </p:sp>
        <p:sp>
          <p:nvSpPr>
            <p:cNvPr id="93" name="Graphic 1100">
              <a:extLst>
                <a:ext uri="{FF2B5EF4-FFF2-40B4-BE49-F238E27FC236}">
                  <a16:creationId xmlns:a16="http://schemas.microsoft.com/office/drawing/2014/main" id="{72B41D39-AE2E-AAFE-FDD5-D4A02007A01B}"/>
                </a:ext>
              </a:extLst>
            </p:cNvPr>
            <p:cNvSpPr/>
            <p:nvPr/>
          </p:nvSpPr>
          <p:spPr>
            <a:xfrm>
              <a:off x="4823124" y="1101253"/>
              <a:ext cx="45449" cy="56569"/>
            </a:xfrm>
            <a:custGeom>
              <a:avLst/>
              <a:gdLst>
                <a:gd name="connsiteX0" fmla="*/ 5751 w 45449"/>
                <a:gd name="connsiteY0" fmla="*/ 310 h 56569"/>
                <a:gd name="connsiteX1" fmla="*/ 0 w 45449"/>
                <a:gd name="connsiteY1" fmla="*/ 6694 h 56569"/>
                <a:gd name="connsiteX2" fmla="*/ 0 w 45449"/>
                <a:gd name="connsiteY2" fmla="*/ 50105 h 56569"/>
                <a:gd name="connsiteX3" fmla="*/ 5751 w 45449"/>
                <a:gd name="connsiteY3" fmla="*/ 56489 h 56569"/>
                <a:gd name="connsiteX4" fmla="*/ 10224 w 45449"/>
                <a:gd name="connsiteY4" fmla="*/ 56489 h 56569"/>
                <a:gd name="connsiteX5" fmla="*/ 37062 w 45449"/>
                <a:gd name="connsiteY5" fmla="*/ 48190 h 56569"/>
                <a:gd name="connsiteX6" fmla="*/ 45369 w 45449"/>
                <a:gd name="connsiteY6" fmla="*/ 27761 h 56569"/>
                <a:gd name="connsiteX7" fmla="*/ 37701 w 45449"/>
                <a:gd name="connsiteY7" fmla="*/ 9247 h 56569"/>
                <a:gd name="connsiteX8" fmla="*/ 5751 w 45449"/>
                <a:gd name="connsiteY8" fmla="*/ 310 h 56569"/>
                <a:gd name="connsiteX9" fmla="*/ 28755 w 45449"/>
                <a:gd name="connsiteY9" fmla="*/ 38614 h 56569"/>
                <a:gd name="connsiteX10" fmla="*/ 12780 w 45449"/>
                <a:gd name="connsiteY10" fmla="*/ 43721 h 56569"/>
                <a:gd name="connsiteX11" fmla="*/ 12780 w 45449"/>
                <a:gd name="connsiteY11" fmla="*/ 12439 h 56569"/>
                <a:gd name="connsiteX12" fmla="*/ 29394 w 45449"/>
                <a:gd name="connsiteY12" fmla="*/ 18185 h 56569"/>
                <a:gd name="connsiteX13" fmla="*/ 32589 w 45449"/>
                <a:gd name="connsiteY13" fmla="*/ 27122 h 56569"/>
                <a:gd name="connsiteX14" fmla="*/ 28755 w 45449"/>
                <a:gd name="connsiteY14" fmla="*/ 38614 h 56569"/>
                <a:gd name="connsiteX15" fmla="*/ 28755 w 45449"/>
                <a:gd name="connsiteY15" fmla="*/ 38614 h 5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449" h="56569">
                  <a:moveTo>
                    <a:pt x="5751" y="310"/>
                  </a:moveTo>
                  <a:cubicBezTo>
                    <a:pt x="2556" y="310"/>
                    <a:pt x="0" y="3502"/>
                    <a:pt x="0" y="6694"/>
                  </a:cubicBezTo>
                  <a:lnTo>
                    <a:pt x="0" y="50105"/>
                  </a:lnTo>
                  <a:cubicBezTo>
                    <a:pt x="0" y="53297"/>
                    <a:pt x="2556" y="55850"/>
                    <a:pt x="5751" y="56489"/>
                  </a:cubicBezTo>
                  <a:cubicBezTo>
                    <a:pt x="7029" y="56489"/>
                    <a:pt x="8946" y="56489"/>
                    <a:pt x="10224" y="56489"/>
                  </a:cubicBezTo>
                  <a:cubicBezTo>
                    <a:pt x="19809" y="57127"/>
                    <a:pt x="29394" y="53935"/>
                    <a:pt x="37062" y="48190"/>
                  </a:cubicBezTo>
                  <a:cubicBezTo>
                    <a:pt x="42813" y="43082"/>
                    <a:pt x="46008" y="35422"/>
                    <a:pt x="45369" y="27761"/>
                  </a:cubicBezTo>
                  <a:cubicBezTo>
                    <a:pt x="45369" y="20738"/>
                    <a:pt x="42813" y="14354"/>
                    <a:pt x="37701" y="9247"/>
                  </a:cubicBezTo>
                  <a:cubicBezTo>
                    <a:pt x="26838" y="-967"/>
                    <a:pt x="7668" y="-329"/>
                    <a:pt x="5751" y="310"/>
                  </a:cubicBezTo>
                  <a:close/>
                  <a:moveTo>
                    <a:pt x="28755" y="38614"/>
                  </a:moveTo>
                  <a:cubicBezTo>
                    <a:pt x="24282" y="41806"/>
                    <a:pt x="18531" y="43721"/>
                    <a:pt x="12780" y="43721"/>
                  </a:cubicBezTo>
                  <a:lnTo>
                    <a:pt x="12780" y="12439"/>
                  </a:lnTo>
                  <a:cubicBezTo>
                    <a:pt x="18531" y="12439"/>
                    <a:pt x="24282" y="14354"/>
                    <a:pt x="29394" y="18185"/>
                  </a:cubicBezTo>
                  <a:cubicBezTo>
                    <a:pt x="31950" y="20738"/>
                    <a:pt x="33228" y="23930"/>
                    <a:pt x="32589" y="27122"/>
                  </a:cubicBezTo>
                  <a:cubicBezTo>
                    <a:pt x="33228" y="31591"/>
                    <a:pt x="31311" y="35422"/>
                    <a:pt x="28755" y="38614"/>
                  </a:cubicBezTo>
                  <a:lnTo>
                    <a:pt x="28755" y="38614"/>
                  </a:lnTo>
                  <a:close/>
                </a:path>
              </a:pathLst>
            </a:custGeom>
            <a:grpFill/>
            <a:ln w="6390" cap="flat">
              <a:noFill/>
              <a:prstDash val="solid"/>
              <a:miter/>
            </a:ln>
          </p:spPr>
          <p:txBody>
            <a:bodyPr rtlCol="0" anchor="ctr"/>
            <a:lstStyle/>
            <a:p>
              <a:endParaRPr lang="en-US"/>
            </a:p>
          </p:txBody>
        </p:sp>
        <p:sp>
          <p:nvSpPr>
            <p:cNvPr id="94" name="Graphic 1100">
              <a:extLst>
                <a:ext uri="{FF2B5EF4-FFF2-40B4-BE49-F238E27FC236}">
                  <a16:creationId xmlns:a16="http://schemas.microsoft.com/office/drawing/2014/main" id="{90D2065D-234E-24E2-C249-7CAA2E716DE4}"/>
                </a:ext>
              </a:extLst>
            </p:cNvPr>
            <p:cNvSpPr/>
            <p:nvPr/>
          </p:nvSpPr>
          <p:spPr>
            <a:xfrm>
              <a:off x="4885745" y="1102201"/>
              <a:ext cx="33227" cy="57455"/>
            </a:xfrm>
            <a:custGeom>
              <a:avLst/>
              <a:gdLst>
                <a:gd name="connsiteX0" fmla="*/ 6390 w 33227"/>
                <a:gd name="connsiteY0" fmla="*/ 0 h 57455"/>
                <a:gd name="connsiteX1" fmla="*/ 0 w 33227"/>
                <a:gd name="connsiteY1" fmla="*/ 6384 h 57455"/>
                <a:gd name="connsiteX2" fmla="*/ 0 w 33227"/>
                <a:gd name="connsiteY2" fmla="*/ 51072 h 57455"/>
                <a:gd name="connsiteX3" fmla="*/ 6390 w 33227"/>
                <a:gd name="connsiteY3" fmla="*/ 57456 h 57455"/>
                <a:gd name="connsiteX4" fmla="*/ 12780 w 33227"/>
                <a:gd name="connsiteY4" fmla="*/ 51072 h 57455"/>
                <a:gd name="connsiteX5" fmla="*/ 12780 w 33227"/>
                <a:gd name="connsiteY5" fmla="*/ 35750 h 57455"/>
                <a:gd name="connsiteX6" fmla="*/ 26838 w 33227"/>
                <a:gd name="connsiteY6" fmla="*/ 35750 h 57455"/>
                <a:gd name="connsiteX7" fmla="*/ 33228 w 33227"/>
                <a:gd name="connsiteY7" fmla="*/ 29366 h 57455"/>
                <a:gd name="connsiteX8" fmla="*/ 26838 w 33227"/>
                <a:gd name="connsiteY8" fmla="*/ 22982 h 57455"/>
                <a:gd name="connsiteX9" fmla="*/ 12780 w 33227"/>
                <a:gd name="connsiteY9" fmla="*/ 22982 h 57455"/>
                <a:gd name="connsiteX10" fmla="*/ 12780 w 33227"/>
                <a:gd name="connsiteY10" fmla="*/ 12768 h 57455"/>
                <a:gd name="connsiteX11" fmla="*/ 26838 w 33227"/>
                <a:gd name="connsiteY11" fmla="*/ 12768 h 57455"/>
                <a:gd name="connsiteX12" fmla="*/ 33228 w 33227"/>
                <a:gd name="connsiteY12" fmla="*/ 6384 h 57455"/>
                <a:gd name="connsiteX13" fmla="*/ 26838 w 33227"/>
                <a:gd name="connsiteY13" fmla="*/ 0 h 57455"/>
                <a:gd name="connsiteX14" fmla="*/ 6390 w 33227"/>
                <a:gd name="connsiteY14" fmla="*/ 0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27" h="57455">
                  <a:moveTo>
                    <a:pt x="6390" y="0"/>
                  </a:moveTo>
                  <a:cubicBezTo>
                    <a:pt x="2556" y="0"/>
                    <a:pt x="0" y="2554"/>
                    <a:pt x="0" y="6384"/>
                  </a:cubicBezTo>
                  <a:lnTo>
                    <a:pt x="0" y="51072"/>
                  </a:lnTo>
                  <a:cubicBezTo>
                    <a:pt x="0" y="54902"/>
                    <a:pt x="2556" y="57456"/>
                    <a:pt x="6390" y="57456"/>
                  </a:cubicBezTo>
                  <a:cubicBezTo>
                    <a:pt x="10224" y="57456"/>
                    <a:pt x="12780" y="54902"/>
                    <a:pt x="12780" y="51072"/>
                  </a:cubicBezTo>
                  <a:lnTo>
                    <a:pt x="12780" y="35750"/>
                  </a:lnTo>
                  <a:lnTo>
                    <a:pt x="26838" y="35750"/>
                  </a:lnTo>
                  <a:cubicBezTo>
                    <a:pt x="30672" y="35750"/>
                    <a:pt x="33228" y="33197"/>
                    <a:pt x="33228" y="29366"/>
                  </a:cubicBezTo>
                  <a:cubicBezTo>
                    <a:pt x="33228" y="25536"/>
                    <a:pt x="30672" y="22982"/>
                    <a:pt x="26838" y="22982"/>
                  </a:cubicBezTo>
                  <a:lnTo>
                    <a:pt x="12780" y="22982"/>
                  </a:lnTo>
                  <a:lnTo>
                    <a:pt x="12780" y="12768"/>
                  </a:lnTo>
                  <a:lnTo>
                    <a:pt x="26838" y="12768"/>
                  </a:lnTo>
                  <a:cubicBezTo>
                    <a:pt x="30672" y="12768"/>
                    <a:pt x="33228" y="10214"/>
                    <a:pt x="33228" y="6384"/>
                  </a:cubicBezTo>
                  <a:cubicBezTo>
                    <a:pt x="33228" y="2554"/>
                    <a:pt x="30672" y="0"/>
                    <a:pt x="26838" y="0"/>
                  </a:cubicBezTo>
                  <a:lnTo>
                    <a:pt x="6390" y="0"/>
                  </a:lnTo>
                  <a:close/>
                </a:path>
              </a:pathLst>
            </a:custGeom>
            <a:grpFill/>
            <a:ln w="6390" cap="flat">
              <a:noFill/>
              <a:prstDash val="solid"/>
              <a:miter/>
            </a:ln>
          </p:spPr>
          <p:txBody>
            <a:bodyPr rtlCol="0" anchor="ctr"/>
            <a:lstStyle/>
            <a:p>
              <a:endParaRPr lang="en-US"/>
            </a:p>
          </p:txBody>
        </p:sp>
        <p:sp>
          <p:nvSpPr>
            <p:cNvPr id="95" name="Graphic 1100">
              <a:extLst>
                <a:ext uri="{FF2B5EF4-FFF2-40B4-BE49-F238E27FC236}">
                  <a16:creationId xmlns:a16="http://schemas.microsoft.com/office/drawing/2014/main" id="{86042839-24A7-CE71-072C-A49971B4CDBA}"/>
                </a:ext>
              </a:extLst>
            </p:cNvPr>
            <p:cNvSpPr/>
            <p:nvPr/>
          </p:nvSpPr>
          <p:spPr>
            <a:xfrm>
              <a:off x="4769449" y="1100924"/>
              <a:ext cx="39099" cy="56817"/>
            </a:xfrm>
            <a:custGeom>
              <a:avLst/>
              <a:gdLst>
                <a:gd name="connsiteX0" fmla="*/ 21087 w 39099"/>
                <a:gd name="connsiteY0" fmla="*/ 0 h 56817"/>
                <a:gd name="connsiteX1" fmla="*/ 6390 w 39099"/>
                <a:gd name="connsiteY1" fmla="*/ 0 h 56817"/>
                <a:gd name="connsiteX2" fmla="*/ 0 w 39099"/>
                <a:gd name="connsiteY2" fmla="*/ 6384 h 56817"/>
                <a:gd name="connsiteX3" fmla="*/ 0 w 39099"/>
                <a:gd name="connsiteY3" fmla="*/ 50434 h 56817"/>
                <a:gd name="connsiteX4" fmla="*/ 6390 w 39099"/>
                <a:gd name="connsiteY4" fmla="*/ 56818 h 56817"/>
                <a:gd name="connsiteX5" fmla="*/ 12780 w 39099"/>
                <a:gd name="connsiteY5" fmla="*/ 50434 h 56817"/>
                <a:gd name="connsiteX6" fmla="*/ 12780 w 39099"/>
                <a:gd name="connsiteY6" fmla="*/ 38304 h 56817"/>
                <a:gd name="connsiteX7" fmla="*/ 21087 w 39099"/>
                <a:gd name="connsiteY7" fmla="*/ 38304 h 56817"/>
                <a:gd name="connsiteX8" fmla="*/ 33867 w 39099"/>
                <a:gd name="connsiteY8" fmla="*/ 33197 h 56817"/>
                <a:gd name="connsiteX9" fmla="*/ 38978 w 39099"/>
                <a:gd name="connsiteY9" fmla="*/ 19152 h 56817"/>
                <a:gd name="connsiteX10" fmla="*/ 22365 w 39099"/>
                <a:gd name="connsiteY10" fmla="*/ 0 h 56817"/>
                <a:gd name="connsiteX11" fmla="*/ 21087 w 39099"/>
                <a:gd name="connsiteY11" fmla="*/ 0 h 56817"/>
                <a:gd name="connsiteX12" fmla="*/ 21087 w 39099"/>
                <a:gd name="connsiteY12" fmla="*/ 0 h 56817"/>
                <a:gd name="connsiteX13" fmla="*/ 21087 w 39099"/>
                <a:gd name="connsiteY13" fmla="*/ 25536 h 56817"/>
                <a:gd name="connsiteX14" fmla="*/ 12780 w 39099"/>
                <a:gd name="connsiteY14" fmla="*/ 25536 h 56817"/>
                <a:gd name="connsiteX15" fmla="*/ 12780 w 39099"/>
                <a:gd name="connsiteY15" fmla="*/ 12768 h 56817"/>
                <a:gd name="connsiteX16" fmla="*/ 21087 w 39099"/>
                <a:gd name="connsiteY16" fmla="*/ 12768 h 56817"/>
                <a:gd name="connsiteX17" fmla="*/ 24921 w 39099"/>
                <a:gd name="connsiteY17" fmla="*/ 14045 h 56817"/>
                <a:gd name="connsiteX18" fmla="*/ 26199 w 39099"/>
                <a:gd name="connsiteY18" fmla="*/ 19152 h 56817"/>
                <a:gd name="connsiteX19" fmla="*/ 21087 w 39099"/>
                <a:gd name="connsiteY19" fmla="*/ 25536 h 56817"/>
                <a:gd name="connsiteX20" fmla="*/ 21087 w 39099"/>
                <a:gd name="connsiteY20" fmla="*/ 25536 h 5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99" h="56817">
                  <a:moveTo>
                    <a:pt x="21087" y="0"/>
                  </a:moveTo>
                  <a:lnTo>
                    <a:pt x="6390" y="0"/>
                  </a:lnTo>
                  <a:cubicBezTo>
                    <a:pt x="2556" y="0"/>
                    <a:pt x="0" y="2554"/>
                    <a:pt x="0" y="6384"/>
                  </a:cubicBezTo>
                  <a:lnTo>
                    <a:pt x="0" y="50434"/>
                  </a:lnTo>
                  <a:cubicBezTo>
                    <a:pt x="0" y="54264"/>
                    <a:pt x="2556" y="56818"/>
                    <a:pt x="6390" y="56818"/>
                  </a:cubicBezTo>
                  <a:cubicBezTo>
                    <a:pt x="10224" y="56818"/>
                    <a:pt x="12780" y="54264"/>
                    <a:pt x="12780" y="50434"/>
                  </a:cubicBezTo>
                  <a:lnTo>
                    <a:pt x="12780" y="38304"/>
                  </a:lnTo>
                  <a:lnTo>
                    <a:pt x="21087" y="38304"/>
                  </a:lnTo>
                  <a:cubicBezTo>
                    <a:pt x="25560" y="38304"/>
                    <a:pt x="30672" y="36389"/>
                    <a:pt x="33867" y="33197"/>
                  </a:cubicBezTo>
                  <a:cubicBezTo>
                    <a:pt x="37700" y="29366"/>
                    <a:pt x="39617" y="24259"/>
                    <a:pt x="38978" y="19152"/>
                  </a:cubicBezTo>
                  <a:cubicBezTo>
                    <a:pt x="39617" y="9576"/>
                    <a:pt x="32589" y="638"/>
                    <a:pt x="22365" y="0"/>
                  </a:cubicBezTo>
                  <a:cubicBezTo>
                    <a:pt x="21726" y="0"/>
                    <a:pt x="21087" y="0"/>
                    <a:pt x="21087" y="0"/>
                  </a:cubicBezTo>
                  <a:lnTo>
                    <a:pt x="21087" y="0"/>
                  </a:lnTo>
                  <a:close/>
                  <a:moveTo>
                    <a:pt x="21087" y="25536"/>
                  </a:moveTo>
                  <a:lnTo>
                    <a:pt x="12780" y="25536"/>
                  </a:lnTo>
                  <a:lnTo>
                    <a:pt x="12780" y="12768"/>
                  </a:lnTo>
                  <a:lnTo>
                    <a:pt x="21087" y="12768"/>
                  </a:lnTo>
                  <a:cubicBezTo>
                    <a:pt x="22365" y="12768"/>
                    <a:pt x="23642" y="13406"/>
                    <a:pt x="24921" y="14045"/>
                  </a:cubicBezTo>
                  <a:cubicBezTo>
                    <a:pt x="26199" y="15322"/>
                    <a:pt x="26837" y="17237"/>
                    <a:pt x="26199" y="19152"/>
                  </a:cubicBezTo>
                  <a:cubicBezTo>
                    <a:pt x="26199" y="23621"/>
                    <a:pt x="24921" y="26174"/>
                    <a:pt x="21087" y="25536"/>
                  </a:cubicBezTo>
                  <a:lnTo>
                    <a:pt x="21087" y="25536"/>
                  </a:lnTo>
                  <a:close/>
                </a:path>
              </a:pathLst>
            </a:custGeom>
            <a:grpFill/>
            <a:ln w="6390" cap="flat">
              <a:noFill/>
              <a:prstDash val="solid"/>
              <a:miter/>
            </a:ln>
          </p:spPr>
          <p:txBody>
            <a:bodyPr rtlCol="0" anchor="ctr"/>
            <a:lstStyle/>
            <a:p>
              <a:endParaRPr lang="en-US"/>
            </a:p>
          </p:txBody>
        </p:sp>
      </p:grpSp>
      <p:sp>
        <p:nvSpPr>
          <p:cNvPr id="96" name="Graphic 1100">
            <a:extLst>
              <a:ext uri="{FF2B5EF4-FFF2-40B4-BE49-F238E27FC236}">
                <a16:creationId xmlns:a16="http://schemas.microsoft.com/office/drawing/2014/main" id="{4322F4C4-CCBC-BFCE-66C4-8ABE8A79EAF8}"/>
              </a:ext>
            </a:extLst>
          </p:cNvPr>
          <p:cNvSpPr>
            <a:spLocks noChangeAspect="1"/>
          </p:cNvSpPr>
          <p:nvPr/>
        </p:nvSpPr>
        <p:spPr>
          <a:xfrm>
            <a:off x="3540501" y="4192525"/>
            <a:ext cx="293826" cy="360000"/>
          </a:xfrm>
          <a:custGeom>
            <a:avLst/>
            <a:gdLst>
              <a:gd name="connsiteX0" fmla="*/ 187225 w 189141"/>
              <a:gd name="connsiteY0" fmla="*/ 43411 h 231738"/>
              <a:gd name="connsiteX1" fmla="*/ 146330 w 189141"/>
              <a:gd name="connsiteY1" fmla="*/ 1915 h 231738"/>
              <a:gd name="connsiteX2" fmla="*/ 141856 w 189141"/>
              <a:gd name="connsiteY2" fmla="*/ 0 h 231738"/>
              <a:gd name="connsiteX3" fmla="*/ 65177 w 189141"/>
              <a:gd name="connsiteY3" fmla="*/ 0 h 231738"/>
              <a:gd name="connsiteX4" fmla="*/ 58787 w 189141"/>
              <a:gd name="connsiteY4" fmla="*/ 6384 h 231738"/>
              <a:gd name="connsiteX5" fmla="*/ 58787 w 189141"/>
              <a:gd name="connsiteY5" fmla="*/ 50434 h 231738"/>
              <a:gd name="connsiteX6" fmla="*/ 6390 w 189141"/>
              <a:gd name="connsiteY6" fmla="*/ 50434 h 231738"/>
              <a:gd name="connsiteX7" fmla="*/ 0 w 189141"/>
              <a:gd name="connsiteY7" fmla="*/ 56818 h 231738"/>
              <a:gd name="connsiteX8" fmla="*/ 0 w 189141"/>
              <a:gd name="connsiteY8" fmla="*/ 225355 h 231738"/>
              <a:gd name="connsiteX9" fmla="*/ 6390 w 189141"/>
              <a:gd name="connsiteY9" fmla="*/ 231739 h 231738"/>
              <a:gd name="connsiteX10" fmla="*/ 123965 w 189141"/>
              <a:gd name="connsiteY10" fmla="*/ 231739 h 231738"/>
              <a:gd name="connsiteX11" fmla="*/ 130355 w 189141"/>
              <a:gd name="connsiteY11" fmla="*/ 225355 h 231738"/>
              <a:gd name="connsiteX12" fmla="*/ 130355 w 189141"/>
              <a:gd name="connsiteY12" fmla="*/ 181305 h 231738"/>
              <a:gd name="connsiteX13" fmla="*/ 182752 w 189141"/>
              <a:gd name="connsiteY13" fmla="*/ 181305 h 231738"/>
              <a:gd name="connsiteX14" fmla="*/ 189142 w 189141"/>
              <a:gd name="connsiteY14" fmla="*/ 174921 h 231738"/>
              <a:gd name="connsiteX15" fmla="*/ 189142 w 189141"/>
              <a:gd name="connsiteY15" fmla="*/ 49157 h 231738"/>
              <a:gd name="connsiteX16" fmla="*/ 188503 w 189141"/>
              <a:gd name="connsiteY16" fmla="*/ 45965 h 231738"/>
              <a:gd name="connsiteX17" fmla="*/ 187225 w 189141"/>
              <a:gd name="connsiteY17" fmla="*/ 43411 h 231738"/>
              <a:gd name="connsiteX18" fmla="*/ 147607 w 189141"/>
              <a:gd name="connsiteY18" fmla="*/ 21706 h 231738"/>
              <a:gd name="connsiteX19" fmla="*/ 168055 w 189141"/>
              <a:gd name="connsiteY19" fmla="*/ 42773 h 231738"/>
              <a:gd name="connsiteX20" fmla="*/ 147607 w 189141"/>
              <a:gd name="connsiteY20" fmla="*/ 42773 h 231738"/>
              <a:gd name="connsiteX21" fmla="*/ 147607 w 189141"/>
              <a:gd name="connsiteY21" fmla="*/ 21706 h 231738"/>
              <a:gd name="connsiteX22" fmla="*/ 117575 w 189141"/>
              <a:gd name="connsiteY22" fmla="*/ 218971 h 231738"/>
              <a:gd name="connsiteX23" fmla="*/ 12780 w 189141"/>
              <a:gd name="connsiteY23" fmla="*/ 218971 h 231738"/>
              <a:gd name="connsiteX24" fmla="*/ 12780 w 189141"/>
              <a:gd name="connsiteY24" fmla="*/ 63840 h 231738"/>
              <a:gd name="connsiteX25" fmla="*/ 76040 w 189141"/>
              <a:gd name="connsiteY25" fmla="*/ 63840 h 231738"/>
              <a:gd name="connsiteX26" fmla="*/ 76040 w 189141"/>
              <a:gd name="connsiteY26" fmla="*/ 99590 h 231738"/>
              <a:gd name="connsiteX27" fmla="*/ 82430 w 189141"/>
              <a:gd name="connsiteY27" fmla="*/ 105974 h 231738"/>
              <a:gd name="connsiteX28" fmla="*/ 118214 w 189141"/>
              <a:gd name="connsiteY28" fmla="*/ 105974 h 231738"/>
              <a:gd name="connsiteX29" fmla="*/ 118214 w 189141"/>
              <a:gd name="connsiteY29" fmla="*/ 218971 h 231738"/>
              <a:gd name="connsiteX30" fmla="*/ 88820 w 189141"/>
              <a:gd name="connsiteY30" fmla="*/ 92568 h 231738"/>
              <a:gd name="connsiteX31" fmla="*/ 88820 w 189141"/>
              <a:gd name="connsiteY31" fmla="*/ 71501 h 231738"/>
              <a:gd name="connsiteX32" fmla="*/ 109268 w 189141"/>
              <a:gd name="connsiteY32" fmla="*/ 92568 h 231738"/>
              <a:gd name="connsiteX33" fmla="*/ 88820 w 189141"/>
              <a:gd name="connsiteY33" fmla="*/ 92568 h 231738"/>
              <a:gd name="connsiteX34" fmla="*/ 177001 w 189141"/>
              <a:gd name="connsiteY34" fmla="*/ 168537 h 231738"/>
              <a:gd name="connsiteX35" fmla="*/ 130994 w 189141"/>
              <a:gd name="connsiteY35" fmla="*/ 168537 h 231738"/>
              <a:gd name="connsiteX36" fmla="*/ 130994 w 189141"/>
              <a:gd name="connsiteY36" fmla="*/ 99590 h 231738"/>
              <a:gd name="connsiteX37" fmla="*/ 130355 w 189141"/>
              <a:gd name="connsiteY37" fmla="*/ 96398 h 231738"/>
              <a:gd name="connsiteX38" fmla="*/ 129076 w 189141"/>
              <a:gd name="connsiteY38" fmla="*/ 94483 h 231738"/>
              <a:gd name="connsiteX39" fmla="*/ 88181 w 189141"/>
              <a:gd name="connsiteY39" fmla="*/ 53626 h 231738"/>
              <a:gd name="connsiteX40" fmla="*/ 83708 w 189141"/>
              <a:gd name="connsiteY40" fmla="*/ 51710 h 231738"/>
              <a:gd name="connsiteX41" fmla="*/ 72206 w 189141"/>
              <a:gd name="connsiteY41" fmla="*/ 51710 h 231738"/>
              <a:gd name="connsiteX42" fmla="*/ 72206 w 189141"/>
              <a:gd name="connsiteY42" fmla="*/ 14045 h 231738"/>
              <a:gd name="connsiteX43" fmla="*/ 135466 w 189141"/>
              <a:gd name="connsiteY43" fmla="*/ 14045 h 231738"/>
              <a:gd name="connsiteX44" fmla="*/ 135466 w 189141"/>
              <a:gd name="connsiteY44" fmla="*/ 49795 h 231738"/>
              <a:gd name="connsiteX45" fmla="*/ 141856 w 189141"/>
              <a:gd name="connsiteY45" fmla="*/ 56179 h 231738"/>
              <a:gd name="connsiteX46" fmla="*/ 177640 w 189141"/>
              <a:gd name="connsiteY46" fmla="*/ 56179 h 231738"/>
              <a:gd name="connsiteX47" fmla="*/ 177001 w 189141"/>
              <a:gd name="connsiteY47" fmla="*/ 168537 h 231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9141" h="231738">
                <a:moveTo>
                  <a:pt x="187225" y="43411"/>
                </a:moveTo>
                <a:lnTo>
                  <a:pt x="146330" y="1915"/>
                </a:lnTo>
                <a:cubicBezTo>
                  <a:pt x="145051" y="638"/>
                  <a:pt x="143774" y="0"/>
                  <a:pt x="141856" y="0"/>
                </a:cubicBezTo>
                <a:lnTo>
                  <a:pt x="65177" y="0"/>
                </a:lnTo>
                <a:cubicBezTo>
                  <a:pt x="61343" y="0"/>
                  <a:pt x="58787" y="2554"/>
                  <a:pt x="58787" y="6384"/>
                </a:cubicBezTo>
                <a:lnTo>
                  <a:pt x="58787" y="50434"/>
                </a:lnTo>
                <a:lnTo>
                  <a:pt x="6390" y="50434"/>
                </a:lnTo>
                <a:cubicBezTo>
                  <a:pt x="2556" y="50434"/>
                  <a:pt x="0" y="52987"/>
                  <a:pt x="0" y="56818"/>
                </a:cubicBezTo>
                <a:lnTo>
                  <a:pt x="0" y="225355"/>
                </a:lnTo>
                <a:cubicBezTo>
                  <a:pt x="0" y="229185"/>
                  <a:pt x="2556" y="231739"/>
                  <a:pt x="6390" y="231739"/>
                </a:cubicBezTo>
                <a:lnTo>
                  <a:pt x="123965" y="231739"/>
                </a:lnTo>
                <a:cubicBezTo>
                  <a:pt x="127799" y="231739"/>
                  <a:pt x="130355" y="229185"/>
                  <a:pt x="130355" y="225355"/>
                </a:cubicBezTo>
                <a:lnTo>
                  <a:pt x="130355" y="181305"/>
                </a:lnTo>
                <a:lnTo>
                  <a:pt x="182752" y="181305"/>
                </a:lnTo>
                <a:cubicBezTo>
                  <a:pt x="186586" y="181305"/>
                  <a:pt x="189142" y="178752"/>
                  <a:pt x="189142" y="174921"/>
                </a:cubicBezTo>
                <a:lnTo>
                  <a:pt x="189142" y="49157"/>
                </a:lnTo>
                <a:cubicBezTo>
                  <a:pt x="189142" y="47880"/>
                  <a:pt x="188503" y="47242"/>
                  <a:pt x="188503" y="45965"/>
                </a:cubicBezTo>
                <a:cubicBezTo>
                  <a:pt x="188503" y="44688"/>
                  <a:pt x="187864" y="44050"/>
                  <a:pt x="187225" y="43411"/>
                </a:cubicBezTo>
                <a:close/>
                <a:moveTo>
                  <a:pt x="147607" y="21706"/>
                </a:moveTo>
                <a:lnTo>
                  <a:pt x="168055" y="42773"/>
                </a:lnTo>
                <a:lnTo>
                  <a:pt x="147607" y="42773"/>
                </a:lnTo>
                <a:lnTo>
                  <a:pt x="147607" y="21706"/>
                </a:lnTo>
                <a:close/>
                <a:moveTo>
                  <a:pt x="117575" y="218971"/>
                </a:moveTo>
                <a:lnTo>
                  <a:pt x="12780" y="218971"/>
                </a:lnTo>
                <a:lnTo>
                  <a:pt x="12780" y="63840"/>
                </a:lnTo>
                <a:lnTo>
                  <a:pt x="76040" y="63840"/>
                </a:lnTo>
                <a:lnTo>
                  <a:pt x="76040" y="99590"/>
                </a:lnTo>
                <a:cubicBezTo>
                  <a:pt x="76040" y="103420"/>
                  <a:pt x="78596" y="105974"/>
                  <a:pt x="82430" y="105974"/>
                </a:cubicBezTo>
                <a:lnTo>
                  <a:pt x="118214" y="105974"/>
                </a:lnTo>
                <a:lnTo>
                  <a:pt x="118214" y="218971"/>
                </a:lnTo>
                <a:close/>
                <a:moveTo>
                  <a:pt x="88820" y="92568"/>
                </a:moveTo>
                <a:lnTo>
                  <a:pt x="88820" y="71501"/>
                </a:lnTo>
                <a:lnTo>
                  <a:pt x="109268" y="92568"/>
                </a:lnTo>
                <a:lnTo>
                  <a:pt x="88820" y="92568"/>
                </a:lnTo>
                <a:close/>
                <a:moveTo>
                  <a:pt x="177001" y="168537"/>
                </a:moveTo>
                <a:lnTo>
                  <a:pt x="130994" y="168537"/>
                </a:lnTo>
                <a:lnTo>
                  <a:pt x="130994" y="99590"/>
                </a:lnTo>
                <a:cubicBezTo>
                  <a:pt x="130994" y="98313"/>
                  <a:pt x="130994" y="97037"/>
                  <a:pt x="130355" y="96398"/>
                </a:cubicBezTo>
                <a:cubicBezTo>
                  <a:pt x="129715" y="95760"/>
                  <a:pt x="129715" y="95121"/>
                  <a:pt x="129076" y="94483"/>
                </a:cubicBezTo>
                <a:lnTo>
                  <a:pt x="88181" y="53626"/>
                </a:lnTo>
                <a:cubicBezTo>
                  <a:pt x="86903" y="52349"/>
                  <a:pt x="85625" y="51710"/>
                  <a:pt x="83708" y="51710"/>
                </a:cubicBezTo>
                <a:lnTo>
                  <a:pt x="72206" y="51710"/>
                </a:lnTo>
                <a:lnTo>
                  <a:pt x="72206" y="14045"/>
                </a:lnTo>
                <a:lnTo>
                  <a:pt x="135466" y="14045"/>
                </a:lnTo>
                <a:lnTo>
                  <a:pt x="135466" y="49795"/>
                </a:lnTo>
                <a:cubicBezTo>
                  <a:pt x="135466" y="53626"/>
                  <a:pt x="138022" y="56179"/>
                  <a:pt x="141856" y="56179"/>
                </a:cubicBezTo>
                <a:lnTo>
                  <a:pt x="177640" y="56179"/>
                </a:lnTo>
                <a:lnTo>
                  <a:pt x="177001" y="168537"/>
                </a:lnTo>
                <a:close/>
              </a:path>
            </a:pathLst>
          </a:custGeom>
          <a:solidFill>
            <a:schemeClr val="tx1"/>
          </a:solidFill>
          <a:ln w="6390" cap="flat">
            <a:noFill/>
            <a:prstDash val="solid"/>
            <a:miter/>
          </a:ln>
        </p:spPr>
        <p:txBody>
          <a:bodyPr rtlCol="0" anchor="ctr"/>
          <a:lstStyle/>
          <a:p>
            <a:endParaRPr lang="en-US"/>
          </a:p>
        </p:txBody>
      </p:sp>
      <p:sp>
        <p:nvSpPr>
          <p:cNvPr id="97" name="TextBox 96">
            <a:extLst>
              <a:ext uri="{FF2B5EF4-FFF2-40B4-BE49-F238E27FC236}">
                <a16:creationId xmlns:a16="http://schemas.microsoft.com/office/drawing/2014/main" id="{290DEBCF-59AE-CF1E-8DE8-AA86FEB91E1D}"/>
              </a:ext>
            </a:extLst>
          </p:cNvPr>
          <p:cNvSpPr txBox="1"/>
          <p:nvPr/>
        </p:nvSpPr>
        <p:spPr>
          <a:xfrm>
            <a:off x="3075610" y="4279140"/>
            <a:ext cx="222526" cy="215444"/>
          </a:xfrm>
          <a:prstGeom prst="rect">
            <a:avLst/>
          </a:prstGeom>
          <a:noFill/>
        </p:spPr>
        <p:txBody>
          <a:bodyPr wrap="square" lIns="0" tIns="0" rIns="0" bIns="0" rtlCol="0">
            <a:spAutoFit/>
          </a:bodyPr>
          <a:lstStyle/>
          <a:p>
            <a:pPr algn="ctr">
              <a:spcBef>
                <a:spcPts val="600"/>
              </a:spcBef>
              <a:buSzPct val="100000"/>
            </a:pPr>
            <a:r>
              <a:rPr lang="pt-PT" sz="1400">
                <a:solidFill>
                  <a:srgbClr val="BFBFBF"/>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98" name="Rectangle 97">
            <a:extLst>
              <a:ext uri="{FF2B5EF4-FFF2-40B4-BE49-F238E27FC236}">
                <a16:creationId xmlns:a16="http://schemas.microsoft.com/office/drawing/2014/main" id="{A74E4864-54B5-8820-9DC8-9A40A56CD897}"/>
              </a:ext>
            </a:extLst>
          </p:cNvPr>
          <p:cNvSpPr/>
          <p:nvPr/>
        </p:nvSpPr>
        <p:spPr>
          <a:xfrm>
            <a:off x="2259415" y="4089180"/>
            <a:ext cx="1830574" cy="814663"/>
          </a:xfrm>
          <a:prstGeom prst="rect">
            <a:avLst/>
          </a:prstGeom>
          <a:noFill/>
          <a:ln w="3175">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ndParaRPr>
          </a:p>
        </p:txBody>
      </p:sp>
      <p:sp>
        <p:nvSpPr>
          <p:cNvPr id="99" name="TextBox 98">
            <a:extLst>
              <a:ext uri="{FF2B5EF4-FFF2-40B4-BE49-F238E27FC236}">
                <a16:creationId xmlns:a16="http://schemas.microsoft.com/office/drawing/2014/main" id="{2235895A-8CE0-00DB-BAB5-50C077AB2E8C}"/>
              </a:ext>
            </a:extLst>
          </p:cNvPr>
          <p:cNvSpPr txBox="1"/>
          <p:nvPr/>
        </p:nvSpPr>
        <p:spPr>
          <a:xfrm>
            <a:off x="2444213" y="4625315"/>
            <a:ext cx="1449942" cy="123111"/>
          </a:xfrm>
          <a:prstGeom prst="rect">
            <a:avLst/>
          </a:prstGeom>
          <a:noFill/>
        </p:spPr>
        <p:txBody>
          <a:bodyPr wrap="square" lIns="0" tIns="0" rIns="0" bIns="0" rtlCol="0">
            <a:spAutoFit/>
          </a:bodyPr>
          <a:lstStyle/>
          <a:p>
            <a:pPr algn="ctr">
              <a:spcBef>
                <a:spcPts val="600"/>
              </a:spcBef>
              <a:buSzPct val="100000"/>
            </a:pPr>
            <a:r>
              <a:rPr lang="en-US" sz="8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All types of Documentation</a:t>
            </a:r>
          </a:p>
        </p:txBody>
      </p:sp>
      <p:sp>
        <p:nvSpPr>
          <p:cNvPr id="100" name="Rectangle 99">
            <a:extLst>
              <a:ext uri="{FF2B5EF4-FFF2-40B4-BE49-F238E27FC236}">
                <a16:creationId xmlns:a16="http://schemas.microsoft.com/office/drawing/2014/main" id="{E8C4E468-1C02-1BCB-D06E-39FD79BFD93E}"/>
              </a:ext>
            </a:extLst>
          </p:cNvPr>
          <p:cNvSpPr/>
          <p:nvPr/>
        </p:nvSpPr>
        <p:spPr>
          <a:xfrm>
            <a:off x="4579222" y="4087252"/>
            <a:ext cx="1830574" cy="814663"/>
          </a:xfrm>
          <a:prstGeom prst="rect">
            <a:avLst/>
          </a:prstGeom>
          <a:noFill/>
          <a:ln w="3175">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ndParaRPr>
          </a:p>
        </p:txBody>
      </p:sp>
      <p:sp>
        <p:nvSpPr>
          <p:cNvPr id="101" name="TextBox 100">
            <a:extLst>
              <a:ext uri="{FF2B5EF4-FFF2-40B4-BE49-F238E27FC236}">
                <a16:creationId xmlns:a16="http://schemas.microsoft.com/office/drawing/2014/main" id="{7B81AC99-1732-15F7-80FD-3062FF2E0C00}"/>
              </a:ext>
            </a:extLst>
          </p:cNvPr>
          <p:cNvSpPr txBox="1"/>
          <p:nvPr/>
        </p:nvSpPr>
        <p:spPr>
          <a:xfrm>
            <a:off x="4769513" y="4954241"/>
            <a:ext cx="1437772" cy="307777"/>
          </a:xfrm>
          <a:prstGeom prst="rect">
            <a:avLst/>
          </a:prstGeom>
          <a:noFill/>
        </p:spPr>
        <p:txBody>
          <a:bodyPr wrap="square" lIns="0" tIns="0" rIns="0" bIns="0" rtlCol="0">
            <a:spAutoFit/>
          </a:bodyPr>
          <a:lstStyle/>
          <a:p>
            <a:pPr algn="ctr">
              <a:spcBef>
                <a:spcPts val="600"/>
              </a:spcBef>
              <a:buSzPct val="100000"/>
            </a:pPr>
            <a:r>
              <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Each document is split into multiple text chunks</a:t>
            </a:r>
          </a:p>
        </p:txBody>
      </p:sp>
      <p:grpSp>
        <p:nvGrpSpPr>
          <p:cNvPr id="102" name="Group 101">
            <a:extLst>
              <a:ext uri="{FF2B5EF4-FFF2-40B4-BE49-F238E27FC236}">
                <a16:creationId xmlns:a16="http://schemas.microsoft.com/office/drawing/2014/main" id="{EBFEC8F2-5DA3-E2BE-8023-5D3337900421}"/>
              </a:ext>
            </a:extLst>
          </p:cNvPr>
          <p:cNvGrpSpPr/>
          <p:nvPr/>
        </p:nvGrpSpPr>
        <p:grpSpPr>
          <a:xfrm>
            <a:off x="4721692" y="4174550"/>
            <a:ext cx="1557528" cy="654816"/>
            <a:chOff x="4583245" y="4903340"/>
            <a:chExt cx="1557528" cy="654816"/>
          </a:xfrm>
        </p:grpSpPr>
        <p:grpSp>
          <p:nvGrpSpPr>
            <p:cNvPr id="103" name="Group 102">
              <a:extLst>
                <a:ext uri="{FF2B5EF4-FFF2-40B4-BE49-F238E27FC236}">
                  <a16:creationId xmlns:a16="http://schemas.microsoft.com/office/drawing/2014/main" id="{B66CE576-6930-C26F-028D-16CF5E50E1B1}"/>
                </a:ext>
              </a:extLst>
            </p:cNvPr>
            <p:cNvGrpSpPr/>
            <p:nvPr/>
          </p:nvGrpSpPr>
          <p:grpSpPr>
            <a:xfrm>
              <a:off x="4583245" y="4903340"/>
              <a:ext cx="1557528" cy="144000"/>
              <a:chOff x="4622103" y="4894330"/>
              <a:chExt cx="1557528" cy="144000"/>
            </a:xfrm>
          </p:grpSpPr>
          <p:grpSp>
            <p:nvGrpSpPr>
              <p:cNvPr id="178" name="Graphic 1100">
                <a:extLst>
                  <a:ext uri="{FF2B5EF4-FFF2-40B4-BE49-F238E27FC236}">
                    <a16:creationId xmlns:a16="http://schemas.microsoft.com/office/drawing/2014/main" id="{35F40CE9-92B4-04F1-9C00-0A522D77B306}"/>
                  </a:ext>
                </a:extLst>
              </p:cNvPr>
              <p:cNvGrpSpPr>
                <a:grpSpLocks noChangeAspect="1"/>
              </p:cNvGrpSpPr>
              <p:nvPr/>
            </p:nvGrpSpPr>
            <p:grpSpPr>
              <a:xfrm>
                <a:off x="4622103" y="4894330"/>
                <a:ext cx="105443" cy="144000"/>
                <a:chOff x="8943994" y="4869389"/>
                <a:chExt cx="158470" cy="216417"/>
              </a:xfrm>
              <a:solidFill>
                <a:schemeClr val="tx1"/>
              </a:solidFill>
            </p:grpSpPr>
            <p:sp>
              <p:nvSpPr>
                <p:cNvPr id="209" name="Graphic 1100">
                  <a:extLst>
                    <a:ext uri="{FF2B5EF4-FFF2-40B4-BE49-F238E27FC236}">
                      <a16:creationId xmlns:a16="http://schemas.microsoft.com/office/drawing/2014/main" id="{A8172D75-60F9-8905-9086-E12CC186F2E8}"/>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210" name="Graphic 1100">
                  <a:extLst>
                    <a:ext uri="{FF2B5EF4-FFF2-40B4-BE49-F238E27FC236}">
                      <a16:creationId xmlns:a16="http://schemas.microsoft.com/office/drawing/2014/main" id="{6E32AF4D-F7EF-886D-966D-867E9C4DD1B7}"/>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211" name="Graphic 1100">
                  <a:extLst>
                    <a:ext uri="{FF2B5EF4-FFF2-40B4-BE49-F238E27FC236}">
                      <a16:creationId xmlns:a16="http://schemas.microsoft.com/office/drawing/2014/main" id="{877AD072-CE5B-8F11-19D7-157C387531B0}"/>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212" name="Graphic 1100">
                  <a:extLst>
                    <a:ext uri="{FF2B5EF4-FFF2-40B4-BE49-F238E27FC236}">
                      <a16:creationId xmlns:a16="http://schemas.microsoft.com/office/drawing/2014/main" id="{ACD4968E-1DC7-1255-D464-67CCB40E8EE1}"/>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213" name="Graphic 1100">
                  <a:extLst>
                    <a:ext uri="{FF2B5EF4-FFF2-40B4-BE49-F238E27FC236}">
                      <a16:creationId xmlns:a16="http://schemas.microsoft.com/office/drawing/2014/main" id="{690B1BAA-AF42-B563-530A-E7D3B85CA2E3}"/>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79" name="Graphic 1100">
                <a:extLst>
                  <a:ext uri="{FF2B5EF4-FFF2-40B4-BE49-F238E27FC236}">
                    <a16:creationId xmlns:a16="http://schemas.microsoft.com/office/drawing/2014/main" id="{B04EDCB7-558C-D4F5-C13F-DC570E4AB40B}"/>
                  </a:ext>
                </a:extLst>
              </p:cNvPr>
              <p:cNvGrpSpPr>
                <a:grpSpLocks noChangeAspect="1"/>
              </p:cNvGrpSpPr>
              <p:nvPr/>
            </p:nvGrpSpPr>
            <p:grpSpPr>
              <a:xfrm>
                <a:off x="4912520" y="4894330"/>
                <a:ext cx="105443" cy="144000"/>
                <a:chOff x="8943994" y="4869389"/>
                <a:chExt cx="158470" cy="216417"/>
              </a:xfrm>
              <a:solidFill>
                <a:schemeClr val="tx1"/>
              </a:solidFill>
            </p:grpSpPr>
            <p:sp>
              <p:nvSpPr>
                <p:cNvPr id="204" name="Graphic 1100">
                  <a:extLst>
                    <a:ext uri="{FF2B5EF4-FFF2-40B4-BE49-F238E27FC236}">
                      <a16:creationId xmlns:a16="http://schemas.microsoft.com/office/drawing/2014/main" id="{564ADA31-1CD5-ABA9-F344-087831283AD3}"/>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205" name="Graphic 1100">
                  <a:extLst>
                    <a:ext uri="{FF2B5EF4-FFF2-40B4-BE49-F238E27FC236}">
                      <a16:creationId xmlns:a16="http://schemas.microsoft.com/office/drawing/2014/main" id="{714089AB-BD94-9035-394D-A24F5B4E6DC7}"/>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206" name="Graphic 1100">
                  <a:extLst>
                    <a:ext uri="{FF2B5EF4-FFF2-40B4-BE49-F238E27FC236}">
                      <a16:creationId xmlns:a16="http://schemas.microsoft.com/office/drawing/2014/main" id="{F08BAC0D-21FE-1FC7-4FE3-5C9CBEB51DE2}"/>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207" name="Graphic 1100">
                  <a:extLst>
                    <a:ext uri="{FF2B5EF4-FFF2-40B4-BE49-F238E27FC236}">
                      <a16:creationId xmlns:a16="http://schemas.microsoft.com/office/drawing/2014/main" id="{9F67529E-44AF-EDD9-5104-96F84CD1E7F7}"/>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208" name="Graphic 1100">
                  <a:extLst>
                    <a:ext uri="{FF2B5EF4-FFF2-40B4-BE49-F238E27FC236}">
                      <a16:creationId xmlns:a16="http://schemas.microsoft.com/office/drawing/2014/main" id="{AFB75066-7C3F-DCE0-81B7-14E725541C6C}"/>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80" name="Graphic 1100">
                <a:extLst>
                  <a:ext uri="{FF2B5EF4-FFF2-40B4-BE49-F238E27FC236}">
                    <a16:creationId xmlns:a16="http://schemas.microsoft.com/office/drawing/2014/main" id="{4F988231-48AD-9E21-EACF-4286109F0689}"/>
                  </a:ext>
                </a:extLst>
              </p:cNvPr>
              <p:cNvGrpSpPr>
                <a:grpSpLocks noChangeAspect="1"/>
              </p:cNvGrpSpPr>
              <p:nvPr/>
            </p:nvGrpSpPr>
            <p:grpSpPr>
              <a:xfrm>
                <a:off x="5202937" y="4894330"/>
                <a:ext cx="105443" cy="144000"/>
                <a:chOff x="8943994" y="4869389"/>
                <a:chExt cx="158470" cy="216417"/>
              </a:xfrm>
              <a:solidFill>
                <a:schemeClr val="tx1"/>
              </a:solidFill>
            </p:grpSpPr>
            <p:sp>
              <p:nvSpPr>
                <p:cNvPr id="199" name="Graphic 1100">
                  <a:extLst>
                    <a:ext uri="{FF2B5EF4-FFF2-40B4-BE49-F238E27FC236}">
                      <a16:creationId xmlns:a16="http://schemas.microsoft.com/office/drawing/2014/main" id="{BBFA2757-59AA-D64E-4DE6-039A3015F952}"/>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200" name="Graphic 1100">
                  <a:extLst>
                    <a:ext uri="{FF2B5EF4-FFF2-40B4-BE49-F238E27FC236}">
                      <a16:creationId xmlns:a16="http://schemas.microsoft.com/office/drawing/2014/main" id="{787803CF-2BFF-6742-F426-F7A87CA96966}"/>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201" name="Graphic 1100">
                  <a:extLst>
                    <a:ext uri="{FF2B5EF4-FFF2-40B4-BE49-F238E27FC236}">
                      <a16:creationId xmlns:a16="http://schemas.microsoft.com/office/drawing/2014/main" id="{597DDB48-9DEE-F9EB-4551-FF63FA038D72}"/>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202" name="Graphic 1100">
                  <a:extLst>
                    <a:ext uri="{FF2B5EF4-FFF2-40B4-BE49-F238E27FC236}">
                      <a16:creationId xmlns:a16="http://schemas.microsoft.com/office/drawing/2014/main" id="{095DF689-9D0A-560E-963C-6C8EDFDBD812}"/>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203" name="Graphic 1100">
                  <a:extLst>
                    <a:ext uri="{FF2B5EF4-FFF2-40B4-BE49-F238E27FC236}">
                      <a16:creationId xmlns:a16="http://schemas.microsoft.com/office/drawing/2014/main" id="{ED703589-1776-775E-A511-D522BABFE57B}"/>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81" name="Graphic 1100">
                <a:extLst>
                  <a:ext uri="{FF2B5EF4-FFF2-40B4-BE49-F238E27FC236}">
                    <a16:creationId xmlns:a16="http://schemas.microsoft.com/office/drawing/2014/main" id="{2554C235-3B16-9FB0-5CC5-53818EDB86C7}"/>
                  </a:ext>
                </a:extLst>
              </p:cNvPr>
              <p:cNvGrpSpPr>
                <a:grpSpLocks noChangeAspect="1"/>
              </p:cNvGrpSpPr>
              <p:nvPr/>
            </p:nvGrpSpPr>
            <p:grpSpPr>
              <a:xfrm>
                <a:off x="5493354" y="4894330"/>
                <a:ext cx="105443" cy="144000"/>
                <a:chOff x="8943994" y="4869389"/>
                <a:chExt cx="158470" cy="216417"/>
              </a:xfrm>
              <a:solidFill>
                <a:schemeClr val="tx1"/>
              </a:solidFill>
            </p:grpSpPr>
            <p:sp>
              <p:nvSpPr>
                <p:cNvPr id="194" name="Graphic 1100">
                  <a:extLst>
                    <a:ext uri="{FF2B5EF4-FFF2-40B4-BE49-F238E27FC236}">
                      <a16:creationId xmlns:a16="http://schemas.microsoft.com/office/drawing/2014/main" id="{8B8423F6-FF9D-CB35-A588-1CE9B00D81D4}"/>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95" name="Graphic 1100">
                  <a:extLst>
                    <a:ext uri="{FF2B5EF4-FFF2-40B4-BE49-F238E27FC236}">
                      <a16:creationId xmlns:a16="http://schemas.microsoft.com/office/drawing/2014/main" id="{8B3D48E1-7003-0381-9EB8-7AEB7C160F67}"/>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96" name="Graphic 1100">
                  <a:extLst>
                    <a:ext uri="{FF2B5EF4-FFF2-40B4-BE49-F238E27FC236}">
                      <a16:creationId xmlns:a16="http://schemas.microsoft.com/office/drawing/2014/main" id="{C6DC6CEA-7505-07D1-324D-E32FC5336EA9}"/>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97" name="Graphic 1100">
                  <a:extLst>
                    <a:ext uri="{FF2B5EF4-FFF2-40B4-BE49-F238E27FC236}">
                      <a16:creationId xmlns:a16="http://schemas.microsoft.com/office/drawing/2014/main" id="{E0C3753C-36FC-3477-D465-628CCA73AF5D}"/>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98" name="Graphic 1100">
                  <a:extLst>
                    <a:ext uri="{FF2B5EF4-FFF2-40B4-BE49-F238E27FC236}">
                      <a16:creationId xmlns:a16="http://schemas.microsoft.com/office/drawing/2014/main" id="{6ED97D77-4B1E-1406-BEB7-7E071EC4614F}"/>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82" name="Graphic 1100">
                <a:extLst>
                  <a:ext uri="{FF2B5EF4-FFF2-40B4-BE49-F238E27FC236}">
                    <a16:creationId xmlns:a16="http://schemas.microsoft.com/office/drawing/2014/main" id="{8DD84B90-501F-8A69-7C47-91B7D89856B6}"/>
                  </a:ext>
                </a:extLst>
              </p:cNvPr>
              <p:cNvGrpSpPr>
                <a:grpSpLocks noChangeAspect="1"/>
              </p:cNvGrpSpPr>
              <p:nvPr/>
            </p:nvGrpSpPr>
            <p:grpSpPr>
              <a:xfrm>
                <a:off x="6074188" y="4894330"/>
                <a:ext cx="105443" cy="144000"/>
                <a:chOff x="8943994" y="4869389"/>
                <a:chExt cx="158470" cy="216417"/>
              </a:xfrm>
              <a:solidFill>
                <a:schemeClr val="tx1"/>
              </a:solidFill>
            </p:grpSpPr>
            <p:sp>
              <p:nvSpPr>
                <p:cNvPr id="189" name="Graphic 1100">
                  <a:extLst>
                    <a:ext uri="{FF2B5EF4-FFF2-40B4-BE49-F238E27FC236}">
                      <a16:creationId xmlns:a16="http://schemas.microsoft.com/office/drawing/2014/main" id="{AC8827B8-EAE9-5A0A-7FF0-6865E4D3209C}"/>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90" name="Graphic 1100">
                  <a:extLst>
                    <a:ext uri="{FF2B5EF4-FFF2-40B4-BE49-F238E27FC236}">
                      <a16:creationId xmlns:a16="http://schemas.microsoft.com/office/drawing/2014/main" id="{FD01255F-5FAD-7B4E-75E5-E30DF8F9F827}"/>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91" name="Graphic 1100">
                  <a:extLst>
                    <a:ext uri="{FF2B5EF4-FFF2-40B4-BE49-F238E27FC236}">
                      <a16:creationId xmlns:a16="http://schemas.microsoft.com/office/drawing/2014/main" id="{0A649740-6953-69F8-C805-08D173E771A4}"/>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92" name="Graphic 1100">
                  <a:extLst>
                    <a:ext uri="{FF2B5EF4-FFF2-40B4-BE49-F238E27FC236}">
                      <a16:creationId xmlns:a16="http://schemas.microsoft.com/office/drawing/2014/main" id="{4366468F-DABD-3342-50F9-0C8FD99909CF}"/>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93" name="Graphic 1100">
                  <a:extLst>
                    <a:ext uri="{FF2B5EF4-FFF2-40B4-BE49-F238E27FC236}">
                      <a16:creationId xmlns:a16="http://schemas.microsoft.com/office/drawing/2014/main" id="{721180C1-FFC2-3E70-169D-5E89C6BEBDA9}"/>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83" name="Graphic 1100">
                <a:extLst>
                  <a:ext uri="{FF2B5EF4-FFF2-40B4-BE49-F238E27FC236}">
                    <a16:creationId xmlns:a16="http://schemas.microsoft.com/office/drawing/2014/main" id="{B0A53AFE-883F-F537-1C57-7874B2E61C0E}"/>
                  </a:ext>
                </a:extLst>
              </p:cNvPr>
              <p:cNvGrpSpPr>
                <a:grpSpLocks noChangeAspect="1"/>
              </p:cNvGrpSpPr>
              <p:nvPr/>
            </p:nvGrpSpPr>
            <p:grpSpPr>
              <a:xfrm>
                <a:off x="5783771" y="4894330"/>
                <a:ext cx="105443" cy="144000"/>
                <a:chOff x="8943994" y="4869389"/>
                <a:chExt cx="158470" cy="216417"/>
              </a:xfrm>
              <a:solidFill>
                <a:schemeClr val="tx1"/>
              </a:solidFill>
            </p:grpSpPr>
            <p:sp>
              <p:nvSpPr>
                <p:cNvPr id="184" name="Graphic 1100">
                  <a:extLst>
                    <a:ext uri="{FF2B5EF4-FFF2-40B4-BE49-F238E27FC236}">
                      <a16:creationId xmlns:a16="http://schemas.microsoft.com/office/drawing/2014/main" id="{89330A85-61C0-7268-D588-9858CF730E58}"/>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85" name="Graphic 1100">
                  <a:extLst>
                    <a:ext uri="{FF2B5EF4-FFF2-40B4-BE49-F238E27FC236}">
                      <a16:creationId xmlns:a16="http://schemas.microsoft.com/office/drawing/2014/main" id="{F52B388B-FE78-6479-002A-037F923C5426}"/>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86" name="Graphic 1100">
                  <a:extLst>
                    <a:ext uri="{FF2B5EF4-FFF2-40B4-BE49-F238E27FC236}">
                      <a16:creationId xmlns:a16="http://schemas.microsoft.com/office/drawing/2014/main" id="{F328B6F9-CD2D-4ED0-4015-E070B81F978E}"/>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87" name="Graphic 1100">
                  <a:extLst>
                    <a:ext uri="{FF2B5EF4-FFF2-40B4-BE49-F238E27FC236}">
                      <a16:creationId xmlns:a16="http://schemas.microsoft.com/office/drawing/2014/main" id="{8584B658-0F4A-69B9-5C2D-BB88B8D034B4}"/>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88" name="Graphic 1100">
                  <a:extLst>
                    <a:ext uri="{FF2B5EF4-FFF2-40B4-BE49-F238E27FC236}">
                      <a16:creationId xmlns:a16="http://schemas.microsoft.com/office/drawing/2014/main" id="{A694FE13-7228-CEE0-D088-D6678644A445}"/>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grpSp>
          <p:nvGrpSpPr>
            <p:cNvPr id="104" name="Group 103">
              <a:extLst>
                <a:ext uri="{FF2B5EF4-FFF2-40B4-BE49-F238E27FC236}">
                  <a16:creationId xmlns:a16="http://schemas.microsoft.com/office/drawing/2014/main" id="{2CFF427B-095C-BE38-B435-D347587C5DC8}"/>
                </a:ext>
              </a:extLst>
            </p:cNvPr>
            <p:cNvGrpSpPr/>
            <p:nvPr/>
          </p:nvGrpSpPr>
          <p:grpSpPr>
            <a:xfrm>
              <a:off x="4583245" y="5158748"/>
              <a:ext cx="1557528" cy="144000"/>
              <a:chOff x="4622103" y="4894330"/>
              <a:chExt cx="1557528" cy="144000"/>
            </a:xfrm>
          </p:grpSpPr>
          <p:grpSp>
            <p:nvGrpSpPr>
              <p:cNvPr id="142" name="Graphic 1100">
                <a:extLst>
                  <a:ext uri="{FF2B5EF4-FFF2-40B4-BE49-F238E27FC236}">
                    <a16:creationId xmlns:a16="http://schemas.microsoft.com/office/drawing/2014/main" id="{BE193FE3-214F-8162-AE37-5E3798DD6AB8}"/>
                  </a:ext>
                </a:extLst>
              </p:cNvPr>
              <p:cNvGrpSpPr>
                <a:grpSpLocks noChangeAspect="1"/>
              </p:cNvGrpSpPr>
              <p:nvPr/>
            </p:nvGrpSpPr>
            <p:grpSpPr>
              <a:xfrm>
                <a:off x="4622103" y="4894330"/>
                <a:ext cx="105443" cy="144000"/>
                <a:chOff x="8943994" y="4869389"/>
                <a:chExt cx="158470" cy="216417"/>
              </a:xfrm>
              <a:solidFill>
                <a:schemeClr val="tx1"/>
              </a:solidFill>
            </p:grpSpPr>
            <p:sp>
              <p:nvSpPr>
                <p:cNvPr id="173" name="Graphic 1100">
                  <a:extLst>
                    <a:ext uri="{FF2B5EF4-FFF2-40B4-BE49-F238E27FC236}">
                      <a16:creationId xmlns:a16="http://schemas.microsoft.com/office/drawing/2014/main" id="{191B7EFC-19FB-AA5C-8139-BDD779FA19B6}"/>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74" name="Graphic 1100">
                  <a:extLst>
                    <a:ext uri="{FF2B5EF4-FFF2-40B4-BE49-F238E27FC236}">
                      <a16:creationId xmlns:a16="http://schemas.microsoft.com/office/drawing/2014/main" id="{4D9717E7-C7F3-7F53-4543-BB426065BC5A}"/>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75" name="Graphic 1100">
                  <a:extLst>
                    <a:ext uri="{FF2B5EF4-FFF2-40B4-BE49-F238E27FC236}">
                      <a16:creationId xmlns:a16="http://schemas.microsoft.com/office/drawing/2014/main" id="{08A8DFED-3C34-03DA-890F-EBF99E5DA6F0}"/>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76" name="Graphic 1100">
                  <a:extLst>
                    <a:ext uri="{FF2B5EF4-FFF2-40B4-BE49-F238E27FC236}">
                      <a16:creationId xmlns:a16="http://schemas.microsoft.com/office/drawing/2014/main" id="{CB93DD55-0ABE-5CD1-A02D-6A8FF6A7444C}"/>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77" name="Graphic 1100">
                  <a:extLst>
                    <a:ext uri="{FF2B5EF4-FFF2-40B4-BE49-F238E27FC236}">
                      <a16:creationId xmlns:a16="http://schemas.microsoft.com/office/drawing/2014/main" id="{7F5EA48D-9781-48E8-2F17-1B1756787356}"/>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43" name="Graphic 1100">
                <a:extLst>
                  <a:ext uri="{FF2B5EF4-FFF2-40B4-BE49-F238E27FC236}">
                    <a16:creationId xmlns:a16="http://schemas.microsoft.com/office/drawing/2014/main" id="{9F934CCA-B5D3-E1CD-EAFE-6BF1747556B9}"/>
                  </a:ext>
                </a:extLst>
              </p:cNvPr>
              <p:cNvGrpSpPr>
                <a:grpSpLocks noChangeAspect="1"/>
              </p:cNvGrpSpPr>
              <p:nvPr/>
            </p:nvGrpSpPr>
            <p:grpSpPr>
              <a:xfrm>
                <a:off x="4912520" y="4894330"/>
                <a:ext cx="105443" cy="144000"/>
                <a:chOff x="8943994" y="4869389"/>
                <a:chExt cx="158470" cy="216417"/>
              </a:xfrm>
              <a:solidFill>
                <a:schemeClr val="tx1"/>
              </a:solidFill>
            </p:grpSpPr>
            <p:sp>
              <p:nvSpPr>
                <p:cNvPr id="168" name="Graphic 1100">
                  <a:extLst>
                    <a:ext uri="{FF2B5EF4-FFF2-40B4-BE49-F238E27FC236}">
                      <a16:creationId xmlns:a16="http://schemas.microsoft.com/office/drawing/2014/main" id="{A583A5B5-F337-0B5A-C8A7-37E70917526B}"/>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69" name="Graphic 1100">
                  <a:extLst>
                    <a:ext uri="{FF2B5EF4-FFF2-40B4-BE49-F238E27FC236}">
                      <a16:creationId xmlns:a16="http://schemas.microsoft.com/office/drawing/2014/main" id="{EC42790B-9106-1412-7704-13910F1E07AA}"/>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70" name="Graphic 1100">
                  <a:extLst>
                    <a:ext uri="{FF2B5EF4-FFF2-40B4-BE49-F238E27FC236}">
                      <a16:creationId xmlns:a16="http://schemas.microsoft.com/office/drawing/2014/main" id="{610536E6-1AD1-6433-9438-03D7D5A6713B}"/>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71" name="Graphic 1100">
                  <a:extLst>
                    <a:ext uri="{FF2B5EF4-FFF2-40B4-BE49-F238E27FC236}">
                      <a16:creationId xmlns:a16="http://schemas.microsoft.com/office/drawing/2014/main" id="{2535B0B6-1EC9-231C-1A93-35B1B98E0C28}"/>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72" name="Graphic 1100">
                  <a:extLst>
                    <a:ext uri="{FF2B5EF4-FFF2-40B4-BE49-F238E27FC236}">
                      <a16:creationId xmlns:a16="http://schemas.microsoft.com/office/drawing/2014/main" id="{37141BC5-1270-E4B2-9D68-4D8AA75E9251}"/>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44" name="Graphic 1100">
                <a:extLst>
                  <a:ext uri="{FF2B5EF4-FFF2-40B4-BE49-F238E27FC236}">
                    <a16:creationId xmlns:a16="http://schemas.microsoft.com/office/drawing/2014/main" id="{0AAF00D8-840E-A633-3055-3434B1856A49}"/>
                  </a:ext>
                </a:extLst>
              </p:cNvPr>
              <p:cNvGrpSpPr>
                <a:grpSpLocks noChangeAspect="1"/>
              </p:cNvGrpSpPr>
              <p:nvPr/>
            </p:nvGrpSpPr>
            <p:grpSpPr>
              <a:xfrm>
                <a:off x="5202937" y="4894330"/>
                <a:ext cx="105443" cy="144000"/>
                <a:chOff x="8943994" y="4869389"/>
                <a:chExt cx="158470" cy="216417"/>
              </a:xfrm>
              <a:solidFill>
                <a:schemeClr val="tx1"/>
              </a:solidFill>
            </p:grpSpPr>
            <p:sp>
              <p:nvSpPr>
                <p:cNvPr id="163" name="Graphic 1100">
                  <a:extLst>
                    <a:ext uri="{FF2B5EF4-FFF2-40B4-BE49-F238E27FC236}">
                      <a16:creationId xmlns:a16="http://schemas.microsoft.com/office/drawing/2014/main" id="{77C18475-9CAD-8015-07E5-4DA58458D520}"/>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64" name="Graphic 1100">
                  <a:extLst>
                    <a:ext uri="{FF2B5EF4-FFF2-40B4-BE49-F238E27FC236}">
                      <a16:creationId xmlns:a16="http://schemas.microsoft.com/office/drawing/2014/main" id="{5969F0A9-645E-A2FD-1741-8C8E99704C77}"/>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65" name="Graphic 1100">
                  <a:extLst>
                    <a:ext uri="{FF2B5EF4-FFF2-40B4-BE49-F238E27FC236}">
                      <a16:creationId xmlns:a16="http://schemas.microsoft.com/office/drawing/2014/main" id="{87815F2F-C8BA-C0E5-FA22-1CCAF50AFDEA}"/>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66" name="Graphic 1100">
                  <a:extLst>
                    <a:ext uri="{FF2B5EF4-FFF2-40B4-BE49-F238E27FC236}">
                      <a16:creationId xmlns:a16="http://schemas.microsoft.com/office/drawing/2014/main" id="{2FD3408F-8559-77B0-CD50-F31737039E53}"/>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67" name="Graphic 1100">
                  <a:extLst>
                    <a:ext uri="{FF2B5EF4-FFF2-40B4-BE49-F238E27FC236}">
                      <a16:creationId xmlns:a16="http://schemas.microsoft.com/office/drawing/2014/main" id="{9D2F6BF2-6A4D-3CD3-26D1-40C58B0E33AD}"/>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45" name="Graphic 1100">
                <a:extLst>
                  <a:ext uri="{FF2B5EF4-FFF2-40B4-BE49-F238E27FC236}">
                    <a16:creationId xmlns:a16="http://schemas.microsoft.com/office/drawing/2014/main" id="{9AB1D2CB-0387-6BAC-A893-A0A59D37BD49}"/>
                  </a:ext>
                </a:extLst>
              </p:cNvPr>
              <p:cNvGrpSpPr>
                <a:grpSpLocks noChangeAspect="1"/>
              </p:cNvGrpSpPr>
              <p:nvPr/>
            </p:nvGrpSpPr>
            <p:grpSpPr>
              <a:xfrm>
                <a:off x="5493354" y="4894330"/>
                <a:ext cx="105443" cy="144000"/>
                <a:chOff x="8943994" y="4869389"/>
                <a:chExt cx="158470" cy="216417"/>
              </a:xfrm>
              <a:solidFill>
                <a:schemeClr val="tx1"/>
              </a:solidFill>
            </p:grpSpPr>
            <p:sp>
              <p:nvSpPr>
                <p:cNvPr id="158" name="Graphic 1100">
                  <a:extLst>
                    <a:ext uri="{FF2B5EF4-FFF2-40B4-BE49-F238E27FC236}">
                      <a16:creationId xmlns:a16="http://schemas.microsoft.com/office/drawing/2014/main" id="{8CDBC324-1ABB-3C5A-A9D0-5932839F407C}"/>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59" name="Graphic 1100">
                  <a:extLst>
                    <a:ext uri="{FF2B5EF4-FFF2-40B4-BE49-F238E27FC236}">
                      <a16:creationId xmlns:a16="http://schemas.microsoft.com/office/drawing/2014/main" id="{19772DDA-9E39-7222-D52F-6C1C7BF1CEAF}"/>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60" name="Graphic 1100">
                  <a:extLst>
                    <a:ext uri="{FF2B5EF4-FFF2-40B4-BE49-F238E27FC236}">
                      <a16:creationId xmlns:a16="http://schemas.microsoft.com/office/drawing/2014/main" id="{291873F8-0231-F126-0B9D-8D829065042B}"/>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61" name="Graphic 1100">
                  <a:extLst>
                    <a:ext uri="{FF2B5EF4-FFF2-40B4-BE49-F238E27FC236}">
                      <a16:creationId xmlns:a16="http://schemas.microsoft.com/office/drawing/2014/main" id="{88816E69-168B-829E-8647-4AC800A866A5}"/>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62" name="Graphic 1100">
                  <a:extLst>
                    <a:ext uri="{FF2B5EF4-FFF2-40B4-BE49-F238E27FC236}">
                      <a16:creationId xmlns:a16="http://schemas.microsoft.com/office/drawing/2014/main" id="{9C86EBD8-2029-E956-8A5F-E6B3DBAE7F13}"/>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46" name="Graphic 1100">
                <a:extLst>
                  <a:ext uri="{FF2B5EF4-FFF2-40B4-BE49-F238E27FC236}">
                    <a16:creationId xmlns:a16="http://schemas.microsoft.com/office/drawing/2014/main" id="{70F90E68-B24C-7579-8DF9-4D8DFBB2F3AE}"/>
                  </a:ext>
                </a:extLst>
              </p:cNvPr>
              <p:cNvGrpSpPr>
                <a:grpSpLocks noChangeAspect="1"/>
              </p:cNvGrpSpPr>
              <p:nvPr/>
            </p:nvGrpSpPr>
            <p:grpSpPr>
              <a:xfrm>
                <a:off x="6074188" y="4894330"/>
                <a:ext cx="105443" cy="144000"/>
                <a:chOff x="8943994" y="4869389"/>
                <a:chExt cx="158470" cy="216417"/>
              </a:xfrm>
              <a:solidFill>
                <a:schemeClr val="tx1"/>
              </a:solidFill>
            </p:grpSpPr>
            <p:sp>
              <p:nvSpPr>
                <p:cNvPr id="153" name="Graphic 1100">
                  <a:extLst>
                    <a:ext uri="{FF2B5EF4-FFF2-40B4-BE49-F238E27FC236}">
                      <a16:creationId xmlns:a16="http://schemas.microsoft.com/office/drawing/2014/main" id="{BDD205D3-32D7-944D-12CB-FC656C60EA47}"/>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54" name="Graphic 1100">
                  <a:extLst>
                    <a:ext uri="{FF2B5EF4-FFF2-40B4-BE49-F238E27FC236}">
                      <a16:creationId xmlns:a16="http://schemas.microsoft.com/office/drawing/2014/main" id="{23DA7A5C-23BB-A002-D5B5-2DC0CEF8C33A}"/>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55" name="Graphic 1100">
                  <a:extLst>
                    <a:ext uri="{FF2B5EF4-FFF2-40B4-BE49-F238E27FC236}">
                      <a16:creationId xmlns:a16="http://schemas.microsoft.com/office/drawing/2014/main" id="{84E678CB-57B6-CF41-A233-75EF23186D9C}"/>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56" name="Graphic 1100">
                  <a:extLst>
                    <a:ext uri="{FF2B5EF4-FFF2-40B4-BE49-F238E27FC236}">
                      <a16:creationId xmlns:a16="http://schemas.microsoft.com/office/drawing/2014/main" id="{E39349B7-DF1A-383D-DAFA-5131EFD7BA8C}"/>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57" name="Graphic 1100">
                  <a:extLst>
                    <a:ext uri="{FF2B5EF4-FFF2-40B4-BE49-F238E27FC236}">
                      <a16:creationId xmlns:a16="http://schemas.microsoft.com/office/drawing/2014/main" id="{C33D416C-9960-00B8-E852-4DF58069E088}"/>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47" name="Graphic 1100">
                <a:extLst>
                  <a:ext uri="{FF2B5EF4-FFF2-40B4-BE49-F238E27FC236}">
                    <a16:creationId xmlns:a16="http://schemas.microsoft.com/office/drawing/2014/main" id="{D9DC2FB0-F10D-8D3E-F713-A88289153275}"/>
                  </a:ext>
                </a:extLst>
              </p:cNvPr>
              <p:cNvGrpSpPr>
                <a:grpSpLocks noChangeAspect="1"/>
              </p:cNvGrpSpPr>
              <p:nvPr/>
            </p:nvGrpSpPr>
            <p:grpSpPr>
              <a:xfrm>
                <a:off x="5783771" y="4894330"/>
                <a:ext cx="105443" cy="144000"/>
                <a:chOff x="8943994" y="4869389"/>
                <a:chExt cx="158470" cy="216417"/>
              </a:xfrm>
              <a:solidFill>
                <a:schemeClr val="tx1"/>
              </a:solidFill>
            </p:grpSpPr>
            <p:sp>
              <p:nvSpPr>
                <p:cNvPr id="148" name="Graphic 1100">
                  <a:extLst>
                    <a:ext uri="{FF2B5EF4-FFF2-40B4-BE49-F238E27FC236}">
                      <a16:creationId xmlns:a16="http://schemas.microsoft.com/office/drawing/2014/main" id="{37AD3A84-318B-7BE9-64DA-ECEC400EC7A2}"/>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49" name="Graphic 1100">
                  <a:extLst>
                    <a:ext uri="{FF2B5EF4-FFF2-40B4-BE49-F238E27FC236}">
                      <a16:creationId xmlns:a16="http://schemas.microsoft.com/office/drawing/2014/main" id="{D036FD19-6CE2-87CE-E1CC-3866B2FCC6C3}"/>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50" name="Graphic 1100">
                  <a:extLst>
                    <a:ext uri="{FF2B5EF4-FFF2-40B4-BE49-F238E27FC236}">
                      <a16:creationId xmlns:a16="http://schemas.microsoft.com/office/drawing/2014/main" id="{7F432DA5-7452-0F8E-5F70-4CF50D6F96EC}"/>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51" name="Graphic 1100">
                  <a:extLst>
                    <a:ext uri="{FF2B5EF4-FFF2-40B4-BE49-F238E27FC236}">
                      <a16:creationId xmlns:a16="http://schemas.microsoft.com/office/drawing/2014/main" id="{7C60481D-FF42-64F5-133D-E03CD3CCBE66}"/>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52" name="Graphic 1100">
                  <a:extLst>
                    <a:ext uri="{FF2B5EF4-FFF2-40B4-BE49-F238E27FC236}">
                      <a16:creationId xmlns:a16="http://schemas.microsoft.com/office/drawing/2014/main" id="{1CE4CB32-0E8C-D125-F3C9-133C9393FCDD}"/>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grpSp>
          <p:nvGrpSpPr>
            <p:cNvPr id="105" name="Group 104">
              <a:extLst>
                <a:ext uri="{FF2B5EF4-FFF2-40B4-BE49-F238E27FC236}">
                  <a16:creationId xmlns:a16="http://schemas.microsoft.com/office/drawing/2014/main" id="{77CFCF13-9092-5F38-6ADF-77C4D06DFC26}"/>
                </a:ext>
              </a:extLst>
            </p:cNvPr>
            <p:cNvGrpSpPr/>
            <p:nvPr/>
          </p:nvGrpSpPr>
          <p:grpSpPr>
            <a:xfrm>
              <a:off x="4583245" y="5414156"/>
              <a:ext cx="1557528" cy="144000"/>
              <a:chOff x="4622103" y="4894330"/>
              <a:chExt cx="1557528" cy="144000"/>
            </a:xfrm>
          </p:grpSpPr>
          <p:grpSp>
            <p:nvGrpSpPr>
              <p:cNvPr id="106" name="Graphic 1100">
                <a:extLst>
                  <a:ext uri="{FF2B5EF4-FFF2-40B4-BE49-F238E27FC236}">
                    <a16:creationId xmlns:a16="http://schemas.microsoft.com/office/drawing/2014/main" id="{CF752EA3-C3E1-B180-BFD1-81775BC9F4BA}"/>
                  </a:ext>
                </a:extLst>
              </p:cNvPr>
              <p:cNvGrpSpPr>
                <a:grpSpLocks noChangeAspect="1"/>
              </p:cNvGrpSpPr>
              <p:nvPr/>
            </p:nvGrpSpPr>
            <p:grpSpPr>
              <a:xfrm>
                <a:off x="4622103" y="4894330"/>
                <a:ext cx="105443" cy="144000"/>
                <a:chOff x="8943994" y="4869389"/>
                <a:chExt cx="158470" cy="216417"/>
              </a:xfrm>
              <a:solidFill>
                <a:schemeClr val="tx1"/>
              </a:solidFill>
            </p:grpSpPr>
            <p:sp>
              <p:nvSpPr>
                <p:cNvPr id="137" name="Graphic 1100">
                  <a:extLst>
                    <a:ext uri="{FF2B5EF4-FFF2-40B4-BE49-F238E27FC236}">
                      <a16:creationId xmlns:a16="http://schemas.microsoft.com/office/drawing/2014/main" id="{D9B2F36D-7C33-3CA4-0DD4-6A8FDCCA2C4C}"/>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38" name="Graphic 1100">
                  <a:extLst>
                    <a:ext uri="{FF2B5EF4-FFF2-40B4-BE49-F238E27FC236}">
                      <a16:creationId xmlns:a16="http://schemas.microsoft.com/office/drawing/2014/main" id="{06F6F05B-3C7A-BB9A-1057-F0E29C139D87}"/>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39" name="Graphic 1100">
                  <a:extLst>
                    <a:ext uri="{FF2B5EF4-FFF2-40B4-BE49-F238E27FC236}">
                      <a16:creationId xmlns:a16="http://schemas.microsoft.com/office/drawing/2014/main" id="{3B8A7F6B-9993-0C8F-855D-40BB862A80AC}"/>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40" name="Graphic 1100">
                  <a:extLst>
                    <a:ext uri="{FF2B5EF4-FFF2-40B4-BE49-F238E27FC236}">
                      <a16:creationId xmlns:a16="http://schemas.microsoft.com/office/drawing/2014/main" id="{294DE3C0-8856-53CE-EEBC-2D1DF5983566}"/>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41" name="Graphic 1100">
                  <a:extLst>
                    <a:ext uri="{FF2B5EF4-FFF2-40B4-BE49-F238E27FC236}">
                      <a16:creationId xmlns:a16="http://schemas.microsoft.com/office/drawing/2014/main" id="{9F0FDA10-1DBE-CA89-1E31-3B2BF467A0B2}"/>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07" name="Graphic 1100">
                <a:extLst>
                  <a:ext uri="{FF2B5EF4-FFF2-40B4-BE49-F238E27FC236}">
                    <a16:creationId xmlns:a16="http://schemas.microsoft.com/office/drawing/2014/main" id="{4594C125-82CD-95E8-E85A-364D72486C75}"/>
                  </a:ext>
                </a:extLst>
              </p:cNvPr>
              <p:cNvGrpSpPr>
                <a:grpSpLocks noChangeAspect="1"/>
              </p:cNvGrpSpPr>
              <p:nvPr/>
            </p:nvGrpSpPr>
            <p:grpSpPr>
              <a:xfrm>
                <a:off x="4912520" y="4894330"/>
                <a:ext cx="105443" cy="144000"/>
                <a:chOff x="8943994" y="4869389"/>
                <a:chExt cx="158470" cy="216417"/>
              </a:xfrm>
              <a:solidFill>
                <a:schemeClr val="tx1"/>
              </a:solidFill>
            </p:grpSpPr>
            <p:sp>
              <p:nvSpPr>
                <p:cNvPr id="132" name="Graphic 1100">
                  <a:extLst>
                    <a:ext uri="{FF2B5EF4-FFF2-40B4-BE49-F238E27FC236}">
                      <a16:creationId xmlns:a16="http://schemas.microsoft.com/office/drawing/2014/main" id="{414D9A58-3264-DADE-5013-7766D7EC298F}"/>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33" name="Graphic 1100">
                  <a:extLst>
                    <a:ext uri="{FF2B5EF4-FFF2-40B4-BE49-F238E27FC236}">
                      <a16:creationId xmlns:a16="http://schemas.microsoft.com/office/drawing/2014/main" id="{3F1BE07B-4550-FE2B-619A-FECB690E1F75}"/>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34" name="Graphic 1100">
                  <a:extLst>
                    <a:ext uri="{FF2B5EF4-FFF2-40B4-BE49-F238E27FC236}">
                      <a16:creationId xmlns:a16="http://schemas.microsoft.com/office/drawing/2014/main" id="{F2E84DF3-2D18-4764-2F32-F19A9FF3BD90}"/>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35" name="Graphic 1100">
                  <a:extLst>
                    <a:ext uri="{FF2B5EF4-FFF2-40B4-BE49-F238E27FC236}">
                      <a16:creationId xmlns:a16="http://schemas.microsoft.com/office/drawing/2014/main" id="{3C273023-4525-EDAF-4D61-E7C4348E6EEA}"/>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36" name="Graphic 1100">
                  <a:extLst>
                    <a:ext uri="{FF2B5EF4-FFF2-40B4-BE49-F238E27FC236}">
                      <a16:creationId xmlns:a16="http://schemas.microsoft.com/office/drawing/2014/main" id="{088F2FA1-E0C3-304C-01F5-076D5E68236F}"/>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08" name="Graphic 1100">
                <a:extLst>
                  <a:ext uri="{FF2B5EF4-FFF2-40B4-BE49-F238E27FC236}">
                    <a16:creationId xmlns:a16="http://schemas.microsoft.com/office/drawing/2014/main" id="{7F34071D-12BE-FA94-3AAF-470BA238846E}"/>
                  </a:ext>
                </a:extLst>
              </p:cNvPr>
              <p:cNvGrpSpPr>
                <a:grpSpLocks noChangeAspect="1"/>
              </p:cNvGrpSpPr>
              <p:nvPr/>
            </p:nvGrpSpPr>
            <p:grpSpPr>
              <a:xfrm>
                <a:off x="5202937" y="4894330"/>
                <a:ext cx="105443" cy="144000"/>
                <a:chOff x="8943994" y="4869389"/>
                <a:chExt cx="158470" cy="216417"/>
              </a:xfrm>
              <a:solidFill>
                <a:schemeClr val="tx1"/>
              </a:solidFill>
            </p:grpSpPr>
            <p:sp>
              <p:nvSpPr>
                <p:cNvPr id="127" name="Graphic 1100">
                  <a:extLst>
                    <a:ext uri="{FF2B5EF4-FFF2-40B4-BE49-F238E27FC236}">
                      <a16:creationId xmlns:a16="http://schemas.microsoft.com/office/drawing/2014/main" id="{1CB654A6-2FE6-B956-90BD-3AAECDB61EEF}"/>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28" name="Graphic 1100">
                  <a:extLst>
                    <a:ext uri="{FF2B5EF4-FFF2-40B4-BE49-F238E27FC236}">
                      <a16:creationId xmlns:a16="http://schemas.microsoft.com/office/drawing/2014/main" id="{8C9B2C03-722B-F471-A5EB-C2A48D3B7621}"/>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29" name="Graphic 1100">
                  <a:extLst>
                    <a:ext uri="{FF2B5EF4-FFF2-40B4-BE49-F238E27FC236}">
                      <a16:creationId xmlns:a16="http://schemas.microsoft.com/office/drawing/2014/main" id="{D6368435-7DEE-D16D-377B-FE010071EDFA}"/>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30" name="Graphic 1100">
                  <a:extLst>
                    <a:ext uri="{FF2B5EF4-FFF2-40B4-BE49-F238E27FC236}">
                      <a16:creationId xmlns:a16="http://schemas.microsoft.com/office/drawing/2014/main" id="{F4EF43A3-FFB5-11E5-EE13-0A41535C8322}"/>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31" name="Graphic 1100">
                  <a:extLst>
                    <a:ext uri="{FF2B5EF4-FFF2-40B4-BE49-F238E27FC236}">
                      <a16:creationId xmlns:a16="http://schemas.microsoft.com/office/drawing/2014/main" id="{68C47AC1-D336-B21B-9AEE-A04F0E3348AF}"/>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09" name="Graphic 1100">
                <a:extLst>
                  <a:ext uri="{FF2B5EF4-FFF2-40B4-BE49-F238E27FC236}">
                    <a16:creationId xmlns:a16="http://schemas.microsoft.com/office/drawing/2014/main" id="{011E461F-A90F-ABEF-7A57-9FAE69B95807}"/>
                  </a:ext>
                </a:extLst>
              </p:cNvPr>
              <p:cNvGrpSpPr>
                <a:grpSpLocks noChangeAspect="1"/>
              </p:cNvGrpSpPr>
              <p:nvPr/>
            </p:nvGrpSpPr>
            <p:grpSpPr>
              <a:xfrm>
                <a:off x="5493354" y="4894330"/>
                <a:ext cx="105443" cy="144000"/>
                <a:chOff x="8943994" y="4869389"/>
                <a:chExt cx="158470" cy="216417"/>
              </a:xfrm>
              <a:solidFill>
                <a:schemeClr val="tx1"/>
              </a:solidFill>
            </p:grpSpPr>
            <p:sp>
              <p:nvSpPr>
                <p:cNvPr id="122" name="Graphic 1100">
                  <a:extLst>
                    <a:ext uri="{FF2B5EF4-FFF2-40B4-BE49-F238E27FC236}">
                      <a16:creationId xmlns:a16="http://schemas.microsoft.com/office/drawing/2014/main" id="{892EBA7F-CC2E-CA62-9316-DCAD442A9869}"/>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23" name="Graphic 1100">
                  <a:extLst>
                    <a:ext uri="{FF2B5EF4-FFF2-40B4-BE49-F238E27FC236}">
                      <a16:creationId xmlns:a16="http://schemas.microsoft.com/office/drawing/2014/main" id="{8E870963-C056-4EF5-AE49-B9D3D5BB9CF0}"/>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24" name="Graphic 1100">
                  <a:extLst>
                    <a:ext uri="{FF2B5EF4-FFF2-40B4-BE49-F238E27FC236}">
                      <a16:creationId xmlns:a16="http://schemas.microsoft.com/office/drawing/2014/main" id="{7B1C5995-04F6-C967-7912-BFAD504E7B45}"/>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25" name="Graphic 1100">
                  <a:extLst>
                    <a:ext uri="{FF2B5EF4-FFF2-40B4-BE49-F238E27FC236}">
                      <a16:creationId xmlns:a16="http://schemas.microsoft.com/office/drawing/2014/main" id="{16150C95-DD81-94DF-4A9C-C67F10C6ABEF}"/>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26" name="Graphic 1100">
                  <a:extLst>
                    <a:ext uri="{FF2B5EF4-FFF2-40B4-BE49-F238E27FC236}">
                      <a16:creationId xmlns:a16="http://schemas.microsoft.com/office/drawing/2014/main" id="{25CBBF41-F0F8-E646-BCFE-7EC64FEDBF60}"/>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10" name="Graphic 1100">
                <a:extLst>
                  <a:ext uri="{FF2B5EF4-FFF2-40B4-BE49-F238E27FC236}">
                    <a16:creationId xmlns:a16="http://schemas.microsoft.com/office/drawing/2014/main" id="{9A75AFC4-3F93-0DF3-6F17-151FFFDB55DC}"/>
                  </a:ext>
                </a:extLst>
              </p:cNvPr>
              <p:cNvGrpSpPr>
                <a:grpSpLocks noChangeAspect="1"/>
              </p:cNvGrpSpPr>
              <p:nvPr/>
            </p:nvGrpSpPr>
            <p:grpSpPr>
              <a:xfrm>
                <a:off x="6074188" y="4894330"/>
                <a:ext cx="105443" cy="144000"/>
                <a:chOff x="8943994" y="4869389"/>
                <a:chExt cx="158470" cy="216417"/>
              </a:xfrm>
              <a:solidFill>
                <a:schemeClr val="tx1"/>
              </a:solidFill>
            </p:grpSpPr>
            <p:sp>
              <p:nvSpPr>
                <p:cNvPr id="117" name="Graphic 1100">
                  <a:extLst>
                    <a:ext uri="{FF2B5EF4-FFF2-40B4-BE49-F238E27FC236}">
                      <a16:creationId xmlns:a16="http://schemas.microsoft.com/office/drawing/2014/main" id="{D6DE99FB-E772-2E47-C2B5-49E9E6E779C6}"/>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18" name="Graphic 1100">
                  <a:extLst>
                    <a:ext uri="{FF2B5EF4-FFF2-40B4-BE49-F238E27FC236}">
                      <a16:creationId xmlns:a16="http://schemas.microsoft.com/office/drawing/2014/main" id="{4FF7D8EB-5B2F-B794-4E4A-90ACAE17478E}"/>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19" name="Graphic 1100">
                  <a:extLst>
                    <a:ext uri="{FF2B5EF4-FFF2-40B4-BE49-F238E27FC236}">
                      <a16:creationId xmlns:a16="http://schemas.microsoft.com/office/drawing/2014/main" id="{893D7734-75B3-21D9-4FB8-1AC90554FA1D}"/>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20" name="Graphic 1100">
                  <a:extLst>
                    <a:ext uri="{FF2B5EF4-FFF2-40B4-BE49-F238E27FC236}">
                      <a16:creationId xmlns:a16="http://schemas.microsoft.com/office/drawing/2014/main" id="{562B4851-D832-339F-298B-615BF828DC9A}"/>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21" name="Graphic 1100">
                  <a:extLst>
                    <a:ext uri="{FF2B5EF4-FFF2-40B4-BE49-F238E27FC236}">
                      <a16:creationId xmlns:a16="http://schemas.microsoft.com/office/drawing/2014/main" id="{FBA835AF-F5AB-0C2C-CA70-7541CD14129B}"/>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nvGrpSpPr>
              <p:cNvPr id="111" name="Graphic 1100">
                <a:extLst>
                  <a:ext uri="{FF2B5EF4-FFF2-40B4-BE49-F238E27FC236}">
                    <a16:creationId xmlns:a16="http://schemas.microsoft.com/office/drawing/2014/main" id="{63BF4684-2984-6FC3-54AA-4DBD2E2AA1D7}"/>
                  </a:ext>
                </a:extLst>
              </p:cNvPr>
              <p:cNvGrpSpPr>
                <a:grpSpLocks noChangeAspect="1"/>
              </p:cNvGrpSpPr>
              <p:nvPr/>
            </p:nvGrpSpPr>
            <p:grpSpPr>
              <a:xfrm>
                <a:off x="5783771" y="4894330"/>
                <a:ext cx="105443" cy="144000"/>
                <a:chOff x="8943994" y="4869389"/>
                <a:chExt cx="158470" cy="216417"/>
              </a:xfrm>
              <a:solidFill>
                <a:schemeClr val="tx1"/>
              </a:solidFill>
            </p:grpSpPr>
            <p:sp>
              <p:nvSpPr>
                <p:cNvPr id="112" name="Graphic 1100">
                  <a:extLst>
                    <a:ext uri="{FF2B5EF4-FFF2-40B4-BE49-F238E27FC236}">
                      <a16:creationId xmlns:a16="http://schemas.microsoft.com/office/drawing/2014/main" id="{AEBA3D19-F15B-906C-9F89-0A9C29E4EF67}"/>
                    </a:ext>
                  </a:extLst>
                </p:cNvPr>
                <p:cNvSpPr/>
                <p:nvPr/>
              </p:nvSpPr>
              <p:spPr>
                <a:xfrm>
                  <a:off x="8943994" y="4869389"/>
                  <a:ext cx="158470" cy="216417"/>
                </a:xfrm>
                <a:custGeom>
                  <a:avLst/>
                  <a:gdLst>
                    <a:gd name="connsiteX0" fmla="*/ 156553 w 158470"/>
                    <a:gd name="connsiteY0" fmla="*/ 52987 h 216417"/>
                    <a:gd name="connsiteX1" fmla="*/ 105434 w 158470"/>
                    <a:gd name="connsiteY1" fmla="*/ 1915 h 216417"/>
                    <a:gd name="connsiteX2" fmla="*/ 103517 w 158470"/>
                    <a:gd name="connsiteY2" fmla="*/ 638 h 216417"/>
                    <a:gd name="connsiteX3" fmla="*/ 100961 w 158470"/>
                    <a:gd name="connsiteY3" fmla="*/ 0 h 216417"/>
                    <a:gd name="connsiteX4" fmla="*/ 6390 w 158470"/>
                    <a:gd name="connsiteY4" fmla="*/ 0 h 216417"/>
                    <a:gd name="connsiteX5" fmla="*/ 0 w 158470"/>
                    <a:gd name="connsiteY5" fmla="*/ 6384 h 216417"/>
                    <a:gd name="connsiteX6" fmla="*/ 0 w 158470"/>
                    <a:gd name="connsiteY6" fmla="*/ 210033 h 216417"/>
                    <a:gd name="connsiteX7" fmla="*/ 6390 w 158470"/>
                    <a:gd name="connsiteY7" fmla="*/ 216417 h 216417"/>
                    <a:gd name="connsiteX8" fmla="*/ 152081 w 158470"/>
                    <a:gd name="connsiteY8" fmla="*/ 216417 h 216417"/>
                    <a:gd name="connsiteX9" fmla="*/ 158471 w 158470"/>
                    <a:gd name="connsiteY9" fmla="*/ 210033 h 216417"/>
                    <a:gd name="connsiteX10" fmla="*/ 158471 w 158470"/>
                    <a:gd name="connsiteY10" fmla="*/ 57456 h 216417"/>
                    <a:gd name="connsiteX11" fmla="*/ 157832 w 158470"/>
                    <a:gd name="connsiteY11" fmla="*/ 54902 h 216417"/>
                    <a:gd name="connsiteX12" fmla="*/ 156553 w 158470"/>
                    <a:gd name="connsiteY12" fmla="*/ 52987 h 216417"/>
                    <a:gd name="connsiteX13" fmla="*/ 107351 w 158470"/>
                    <a:gd name="connsiteY13" fmla="*/ 22344 h 216417"/>
                    <a:gd name="connsiteX14" fmla="*/ 136745 w 158470"/>
                    <a:gd name="connsiteY14" fmla="*/ 51710 h 216417"/>
                    <a:gd name="connsiteX15" fmla="*/ 107351 w 158470"/>
                    <a:gd name="connsiteY15" fmla="*/ 51710 h 216417"/>
                    <a:gd name="connsiteX16" fmla="*/ 107351 w 158470"/>
                    <a:gd name="connsiteY16" fmla="*/ 22344 h 216417"/>
                    <a:gd name="connsiteX17" fmla="*/ 12780 w 158470"/>
                    <a:gd name="connsiteY17" fmla="*/ 204287 h 216417"/>
                    <a:gd name="connsiteX18" fmla="*/ 12780 w 158470"/>
                    <a:gd name="connsiteY18" fmla="*/ 13406 h 216417"/>
                    <a:gd name="connsiteX19" fmla="*/ 94571 w 158470"/>
                    <a:gd name="connsiteY19" fmla="*/ 13406 h 216417"/>
                    <a:gd name="connsiteX20" fmla="*/ 94571 w 158470"/>
                    <a:gd name="connsiteY20" fmla="*/ 58094 h 216417"/>
                    <a:gd name="connsiteX21" fmla="*/ 100961 w 158470"/>
                    <a:gd name="connsiteY21" fmla="*/ 64478 h 216417"/>
                    <a:gd name="connsiteX22" fmla="*/ 145691 w 158470"/>
                    <a:gd name="connsiteY22" fmla="*/ 64478 h 216417"/>
                    <a:gd name="connsiteX23" fmla="*/ 145691 w 158470"/>
                    <a:gd name="connsiteY23" fmla="*/ 204287 h 216417"/>
                    <a:gd name="connsiteX24" fmla="*/ 12780 w 158470"/>
                    <a:gd name="connsiteY24" fmla="*/ 204287 h 21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470" h="216417">
                      <a:moveTo>
                        <a:pt x="156553" y="52987"/>
                      </a:moveTo>
                      <a:lnTo>
                        <a:pt x="105434" y="1915"/>
                      </a:lnTo>
                      <a:cubicBezTo>
                        <a:pt x="104795" y="1277"/>
                        <a:pt x="104156" y="638"/>
                        <a:pt x="103517" y="638"/>
                      </a:cubicBezTo>
                      <a:cubicBezTo>
                        <a:pt x="102879" y="0"/>
                        <a:pt x="102239" y="0"/>
                        <a:pt x="100961" y="0"/>
                      </a:cubicBezTo>
                      <a:lnTo>
                        <a:pt x="6390" y="0"/>
                      </a:lnTo>
                      <a:cubicBezTo>
                        <a:pt x="2556" y="0"/>
                        <a:pt x="0" y="2554"/>
                        <a:pt x="0" y="6384"/>
                      </a:cubicBezTo>
                      <a:lnTo>
                        <a:pt x="0" y="210033"/>
                      </a:lnTo>
                      <a:cubicBezTo>
                        <a:pt x="0" y="213863"/>
                        <a:pt x="2556" y="216417"/>
                        <a:pt x="6390" y="216417"/>
                      </a:cubicBezTo>
                      <a:lnTo>
                        <a:pt x="152081" y="216417"/>
                      </a:lnTo>
                      <a:cubicBezTo>
                        <a:pt x="155915" y="216417"/>
                        <a:pt x="158471" y="213863"/>
                        <a:pt x="158471" y="210033"/>
                      </a:cubicBezTo>
                      <a:lnTo>
                        <a:pt x="158471" y="57456"/>
                      </a:lnTo>
                      <a:cubicBezTo>
                        <a:pt x="158471" y="56818"/>
                        <a:pt x="158471" y="55541"/>
                        <a:pt x="157832" y="54902"/>
                      </a:cubicBezTo>
                      <a:cubicBezTo>
                        <a:pt x="157193" y="54264"/>
                        <a:pt x="157193" y="53626"/>
                        <a:pt x="156553" y="52987"/>
                      </a:cubicBezTo>
                      <a:close/>
                      <a:moveTo>
                        <a:pt x="107351" y="22344"/>
                      </a:moveTo>
                      <a:lnTo>
                        <a:pt x="136745" y="51710"/>
                      </a:lnTo>
                      <a:lnTo>
                        <a:pt x="107351" y="51710"/>
                      </a:lnTo>
                      <a:lnTo>
                        <a:pt x="107351" y="22344"/>
                      </a:lnTo>
                      <a:close/>
                      <a:moveTo>
                        <a:pt x="12780" y="204287"/>
                      </a:moveTo>
                      <a:lnTo>
                        <a:pt x="12780" y="13406"/>
                      </a:lnTo>
                      <a:lnTo>
                        <a:pt x="94571" y="13406"/>
                      </a:lnTo>
                      <a:lnTo>
                        <a:pt x="94571" y="58094"/>
                      </a:lnTo>
                      <a:cubicBezTo>
                        <a:pt x="94571" y="61925"/>
                        <a:pt x="97128" y="64478"/>
                        <a:pt x="100961" y="64478"/>
                      </a:cubicBezTo>
                      <a:lnTo>
                        <a:pt x="145691" y="64478"/>
                      </a:lnTo>
                      <a:lnTo>
                        <a:pt x="145691" y="204287"/>
                      </a:lnTo>
                      <a:lnTo>
                        <a:pt x="12780" y="204287"/>
                      </a:lnTo>
                      <a:close/>
                    </a:path>
                  </a:pathLst>
                </a:custGeom>
                <a:grpFill/>
                <a:ln w="6390" cap="flat">
                  <a:noFill/>
                  <a:prstDash val="solid"/>
                  <a:miter/>
                </a:ln>
              </p:spPr>
              <p:txBody>
                <a:bodyPr rtlCol="0" anchor="ctr"/>
                <a:lstStyle/>
                <a:p>
                  <a:endParaRPr lang="en-US"/>
                </a:p>
              </p:txBody>
            </p:sp>
            <p:sp>
              <p:nvSpPr>
                <p:cNvPr id="113" name="Graphic 1100">
                  <a:extLst>
                    <a:ext uri="{FF2B5EF4-FFF2-40B4-BE49-F238E27FC236}">
                      <a16:creationId xmlns:a16="http://schemas.microsoft.com/office/drawing/2014/main" id="{66F97E1B-B6CB-EAEB-82E4-E60D694A5FD5}"/>
                    </a:ext>
                  </a:extLst>
                </p:cNvPr>
                <p:cNvSpPr/>
                <p:nvPr/>
              </p:nvSpPr>
              <p:spPr>
                <a:xfrm>
                  <a:off x="8972749" y="504431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sp>
              <p:nvSpPr>
                <p:cNvPr id="114" name="Graphic 1100">
                  <a:extLst>
                    <a:ext uri="{FF2B5EF4-FFF2-40B4-BE49-F238E27FC236}">
                      <a16:creationId xmlns:a16="http://schemas.microsoft.com/office/drawing/2014/main" id="{316FD701-5B55-6052-8F4B-8AAA4A5141B3}"/>
                    </a:ext>
                  </a:extLst>
                </p:cNvPr>
                <p:cNvSpPr/>
                <p:nvPr/>
              </p:nvSpPr>
              <p:spPr>
                <a:xfrm>
                  <a:off x="8972749" y="5014944"/>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15" name="Graphic 1100">
                  <a:extLst>
                    <a:ext uri="{FF2B5EF4-FFF2-40B4-BE49-F238E27FC236}">
                      <a16:creationId xmlns:a16="http://schemas.microsoft.com/office/drawing/2014/main" id="{4EFC99B4-5D80-618A-34EA-F899DDE4BBE4}"/>
                    </a:ext>
                  </a:extLst>
                </p:cNvPr>
                <p:cNvSpPr/>
                <p:nvPr/>
              </p:nvSpPr>
              <p:spPr>
                <a:xfrm>
                  <a:off x="8972749" y="4986216"/>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4"/>
                        <a:pt x="0" y="6384"/>
                      </a:cubicBezTo>
                      <a:cubicBezTo>
                        <a:pt x="0" y="10215"/>
                        <a:pt x="2556" y="12768"/>
                        <a:pt x="6390" y="12768"/>
                      </a:cubicBezTo>
                      <a:lnTo>
                        <a:pt x="93933" y="12768"/>
                      </a:lnTo>
                      <a:cubicBezTo>
                        <a:pt x="97766" y="12768"/>
                        <a:pt x="100322" y="10215"/>
                        <a:pt x="100322" y="6384"/>
                      </a:cubicBezTo>
                      <a:cubicBezTo>
                        <a:pt x="100322" y="2554"/>
                        <a:pt x="97766" y="0"/>
                        <a:pt x="93933" y="0"/>
                      </a:cubicBezTo>
                      <a:close/>
                    </a:path>
                  </a:pathLst>
                </a:custGeom>
                <a:grpFill/>
                <a:ln w="6390" cap="flat">
                  <a:noFill/>
                  <a:prstDash val="solid"/>
                  <a:miter/>
                </a:ln>
              </p:spPr>
              <p:txBody>
                <a:bodyPr rtlCol="0" anchor="ctr"/>
                <a:lstStyle/>
                <a:p>
                  <a:endParaRPr lang="en-US"/>
                </a:p>
              </p:txBody>
            </p:sp>
            <p:sp>
              <p:nvSpPr>
                <p:cNvPr id="116" name="Graphic 1100">
                  <a:extLst>
                    <a:ext uri="{FF2B5EF4-FFF2-40B4-BE49-F238E27FC236}">
                      <a16:creationId xmlns:a16="http://schemas.microsoft.com/office/drawing/2014/main" id="{4C14FE67-E307-DCFE-B706-D6922D2BB348}"/>
                    </a:ext>
                  </a:extLst>
                </p:cNvPr>
                <p:cNvSpPr/>
                <p:nvPr/>
              </p:nvSpPr>
              <p:spPr>
                <a:xfrm>
                  <a:off x="8972749" y="4956850"/>
                  <a:ext cx="100322" cy="12767"/>
                </a:xfrm>
                <a:custGeom>
                  <a:avLst/>
                  <a:gdLst>
                    <a:gd name="connsiteX0" fmla="*/ 93933 w 100322"/>
                    <a:gd name="connsiteY0" fmla="*/ 0 h 12767"/>
                    <a:gd name="connsiteX1" fmla="*/ 6390 w 100322"/>
                    <a:gd name="connsiteY1" fmla="*/ 0 h 12767"/>
                    <a:gd name="connsiteX2" fmla="*/ 0 w 100322"/>
                    <a:gd name="connsiteY2" fmla="*/ 6384 h 12767"/>
                    <a:gd name="connsiteX3" fmla="*/ 6390 w 100322"/>
                    <a:gd name="connsiteY3" fmla="*/ 12768 h 12767"/>
                    <a:gd name="connsiteX4" fmla="*/ 93933 w 100322"/>
                    <a:gd name="connsiteY4" fmla="*/ 12768 h 12767"/>
                    <a:gd name="connsiteX5" fmla="*/ 100322 w 100322"/>
                    <a:gd name="connsiteY5" fmla="*/ 6384 h 12767"/>
                    <a:gd name="connsiteX6" fmla="*/ 93933 w 1003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22" h="12767">
                      <a:moveTo>
                        <a:pt x="93933" y="0"/>
                      </a:moveTo>
                      <a:lnTo>
                        <a:pt x="6390" y="0"/>
                      </a:lnTo>
                      <a:cubicBezTo>
                        <a:pt x="2556" y="0"/>
                        <a:pt x="0" y="2553"/>
                        <a:pt x="0" y="6384"/>
                      </a:cubicBezTo>
                      <a:cubicBezTo>
                        <a:pt x="0" y="10214"/>
                        <a:pt x="2556" y="12768"/>
                        <a:pt x="6390" y="12768"/>
                      </a:cubicBezTo>
                      <a:lnTo>
                        <a:pt x="93933" y="12768"/>
                      </a:lnTo>
                      <a:cubicBezTo>
                        <a:pt x="97766" y="12768"/>
                        <a:pt x="100322" y="10214"/>
                        <a:pt x="100322" y="6384"/>
                      </a:cubicBezTo>
                      <a:cubicBezTo>
                        <a:pt x="100322" y="2553"/>
                        <a:pt x="97766" y="0"/>
                        <a:pt x="93933" y="0"/>
                      </a:cubicBezTo>
                      <a:close/>
                    </a:path>
                  </a:pathLst>
                </a:custGeom>
                <a:grpFill/>
                <a:ln w="6390" cap="flat">
                  <a:noFill/>
                  <a:prstDash val="solid"/>
                  <a:miter/>
                </a:ln>
              </p:spPr>
              <p:txBody>
                <a:bodyPr rtlCol="0" anchor="ctr"/>
                <a:lstStyle/>
                <a:p>
                  <a:endParaRPr lang="en-US"/>
                </a:p>
              </p:txBody>
            </p:sp>
          </p:grpSp>
        </p:grpSp>
      </p:grpSp>
      <p:cxnSp>
        <p:nvCxnSpPr>
          <p:cNvPr id="214" name="Straight Arrow Connector 213">
            <a:extLst>
              <a:ext uri="{FF2B5EF4-FFF2-40B4-BE49-F238E27FC236}">
                <a16:creationId xmlns:a16="http://schemas.microsoft.com/office/drawing/2014/main" id="{8B41A6A2-9708-435D-F5C9-74FA20B705A3}"/>
              </a:ext>
            </a:extLst>
          </p:cNvPr>
          <p:cNvCxnSpPr>
            <a:cxnSpLocks/>
          </p:cNvCxnSpPr>
          <p:nvPr/>
        </p:nvCxnSpPr>
        <p:spPr>
          <a:xfrm>
            <a:off x="6514265" y="4483656"/>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5" name="Rectangle 214">
            <a:extLst>
              <a:ext uri="{FF2B5EF4-FFF2-40B4-BE49-F238E27FC236}">
                <a16:creationId xmlns:a16="http://schemas.microsoft.com/office/drawing/2014/main" id="{80267E8B-7B3B-3C07-F29D-A7682B862CA5}"/>
              </a:ext>
            </a:extLst>
          </p:cNvPr>
          <p:cNvSpPr/>
          <p:nvPr/>
        </p:nvSpPr>
        <p:spPr>
          <a:xfrm>
            <a:off x="6899029" y="4087062"/>
            <a:ext cx="1215354" cy="814663"/>
          </a:xfrm>
          <a:prstGeom prst="rect">
            <a:avLst/>
          </a:prstGeom>
          <a:noFill/>
          <a:ln w="3175">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ndParaRPr>
          </a:p>
        </p:txBody>
      </p:sp>
      <p:pic>
        <p:nvPicPr>
          <p:cNvPr id="216" name="Picture 2" descr="OpenAI Logo | Real Company | Alphabet, Letter O Logo">
            <a:extLst>
              <a:ext uri="{FF2B5EF4-FFF2-40B4-BE49-F238E27FC236}">
                <a16:creationId xmlns:a16="http://schemas.microsoft.com/office/drawing/2014/main" id="{0E92C799-67F7-FB4E-D686-BEF63A8A345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26693" y="4239494"/>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a:extLst>
              <a:ext uri="{FF2B5EF4-FFF2-40B4-BE49-F238E27FC236}">
                <a16:creationId xmlns:a16="http://schemas.microsoft.com/office/drawing/2014/main" id="{1DE38202-357E-B25E-325C-98E1E67A6F4A}"/>
              </a:ext>
            </a:extLst>
          </p:cNvPr>
          <p:cNvSpPr txBox="1"/>
          <p:nvPr/>
        </p:nvSpPr>
        <p:spPr>
          <a:xfrm>
            <a:off x="7048547" y="4638067"/>
            <a:ext cx="900000" cy="123111"/>
          </a:xfrm>
          <a:prstGeom prst="rect">
            <a:avLst/>
          </a:prstGeom>
          <a:noFill/>
        </p:spPr>
        <p:txBody>
          <a:bodyPr wrap="square" lIns="0" tIns="0" rIns="0" bIns="0" rtlCol="0">
            <a:spAutoFit/>
          </a:bodyPr>
          <a:lstStyle/>
          <a:p>
            <a:pPr algn="ctr">
              <a:spcBef>
                <a:spcPts val="600"/>
              </a:spcBef>
              <a:buSzPct val="100000"/>
            </a:pPr>
            <a:r>
              <a:rPr lang="en-US" sz="8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Embedding Model</a:t>
            </a:r>
          </a:p>
        </p:txBody>
      </p:sp>
      <p:sp>
        <p:nvSpPr>
          <p:cNvPr id="218" name="TextBox 217">
            <a:extLst>
              <a:ext uri="{FF2B5EF4-FFF2-40B4-BE49-F238E27FC236}">
                <a16:creationId xmlns:a16="http://schemas.microsoft.com/office/drawing/2014/main" id="{D1007CD4-B907-E58F-9194-590FBD67B76C}"/>
              </a:ext>
            </a:extLst>
          </p:cNvPr>
          <p:cNvSpPr txBox="1"/>
          <p:nvPr/>
        </p:nvSpPr>
        <p:spPr>
          <a:xfrm>
            <a:off x="6837242" y="4961398"/>
            <a:ext cx="1348118" cy="307777"/>
          </a:xfrm>
          <a:prstGeom prst="rect">
            <a:avLst/>
          </a:prstGeom>
          <a:noFill/>
        </p:spPr>
        <p:txBody>
          <a:bodyPr wrap="square" lIns="0" tIns="0" rIns="0" bIns="0" rtlCol="0">
            <a:spAutoFit/>
          </a:bodyPr>
          <a:lstStyle/>
          <a:p>
            <a:pPr algn="ctr">
              <a:spcBef>
                <a:spcPts val="600"/>
              </a:spcBef>
              <a:buSzPct val="100000"/>
            </a:pPr>
            <a:r>
              <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Chunks are transformed in vectors</a:t>
            </a:r>
          </a:p>
        </p:txBody>
      </p:sp>
      <p:cxnSp>
        <p:nvCxnSpPr>
          <p:cNvPr id="219" name="Straight Arrow Connector 218">
            <a:extLst>
              <a:ext uri="{FF2B5EF4-FFF2-40B4-BE49-F238E27FC236}">
                <a16:creationId xmlns:a16="http://schemas.microsoft.com/office/drawing/2014/main" id="{21BD4C18-FAE8-9823-D515-145EA6C31B67}"/>
              </a:ext>
            </a:extLst>
          </p:cNvPr>
          <p:cNvCxnSpPr>
            <a:cxnSpLocks/>
          </p:cNvCxnSpPr>
          <p:nvPr/>
        </p:nvCxnSpPr>
        <p:spPr>
          <a:xfrm>
            <a:off x="8275254" y="4491676"/>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4FF7A65F-5CDA-C593-DE78-5B39E078A49C}"/>
              </a:ext>
            </a:extLst>
          </p:cNvPr>
          <p:cNvSpPr/>
          <p:nvPr/>
        </p:nvSpPr>
        <p:spPr>
          <a:xfrm>
            <a:off x="8671097" y="3919529"/>
            <a:ext cx="1830574" cy="1124227"/>
          </a:xfrm>
          <a:prstGeom prst="rect">
            <a:avLst/>
          </a:prstGeom>
          <a:noFill/>
          <a:ln w="3175">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ndParaRPr>
          </a:p>
        </p:txBody>
      </p:sp>
      <p:sp>
        <p:nvSpPr>
          <p:cNvPr id="221" name="TextBox 220">
            <a:extLst>
              <a:ext uri="{FF2B5EF4-FFF2-40B4-BE49-F238E27FC236}">
                <a16:creationId xmlns:a16="http://schemas.microsoft.com/office/drawing/2014/main" id="{4066FDF8-A7A3-0BD7-0727-F8E9F4493DD5}"/>
              </a:ext>
            </a:extLst>
          </p:cNvPr>
          <p:cNvSpPr txBox="1"/>
          <p:nvPr/>
        </p:nvSpPr>
        <p:spPr>
          <a:xfrm>
            <a:off x="8660018" y="5072632"/>
            <a:ext cx="1830573" cy="307777"/>
          </a:xfrm>
          <a:prstGeom prst="rect">
            <a:avLst/>
          </a:prstGeom>
          <a:noFill/>
        </p:spPr>
        <p:txBody>
          <a:bodyPr wrap="square" lIns="0" tIns="0" rIns="0" bIns="0" rtlCol="0">
            <a:spAutoFit/>
          </a:bodyPr>
          <a:lstStyle/>
          <a:p>
            <a:pPr algn="ctr">
              <a:spcBef>
                <a:spcPts val="600"/>
              </a:spcBef>
              <a:buSzPct val="100000"/>
            </a:pPr>
            <a:r>
              <a:rPr lang="en-US" sz="10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The vectors (embeddings) are indexed in a vector database</a:t>
            </a:r>
          </a:p>
        </p:txBody>
      </p:sp>
      <p:grpSp>
        <p:nvGrpSpPr>
          <p:cNvPr id="222" name="Group 221">
            <a:extLst>
              <a:ext uri="{FF2B5EF4-FFF2-40B4-BE49-F238E27FC236}">
                <a16:creationId xmlns:a16="http://schemas.microsoft.com/office/drawing/2014/main" id="{53CF62F8-B67A-86DB-905E-35D709C14C33}"/>
              </a:ext>
            </a:extLst>
          </p:cNvPr>
          <p:cNvGrpSpPr/>
          <p:nvPr/>
        </p:nvGrpSpPr>
        <p:grpSpPr>
          <a:xfrm>
            <a:off x="4168885" y="4192525"/>
            <a:ext cx="317350" cy="224226"/>
            <a:chOff x="1590595" y="6088787"/>
            <a:chExt cx="317350" cy="224226"/>
          </a:xfrm>
        </p:grpSpPr>
        <p:sp>
          <p:nvSpPr>
            <p:cNvPr id="223" name="TextBox 222">
              <a:extLst>
                <a:ext uri="{FF2B5EF4-FFF2-40B4-BE49-F238E27FC236}">
                  <a16:creationId xmlns:a16="http://schemas.microsoft.com/office/drawing/2014/main" id="{D397581E-8158-00E8-45F8-19C1F69E707A}"/>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1</a:t>
              </a:r>
            </a:p>
          </p:txBody>
        </p:sp>
        <p:sp>
          <p:nvSpPr>
            <p:cNvPr id="224" name="Oval 223">
              <a:extLst>
                <a:ext uri="{FF2B5EF4-FFF2-40B4-BE49-F238E27FC236}">
                  <a16:creationId xmlns:a16="http://schemas.microsoft.com/office/drawing/2014/main" id="{6FFC199E-596D-CD70-4B75-027AD3207AAC}"/>
                </a:ext>
              </a:extLst>
            </p:cNvPr>
            <p:cNvSpPr/>
            <p:nvPr/>
          </p:nvSpPr>
          <p:spPr>
            <a:xfrm>
              <a:off x="1629654" y="6088787"/>
              <a:ext cx="216000" cy="216000"/>
            </a:xfrm>
            <a:prstGeom prst="ellipse">
              <a:avLst/>
            </a:prstGeom>
            <a:no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grpSp>
      <p:grpSp>
        <p:nvGrpSpPr>
          <p:cNvPr id="225" name="Group 224">
            <a:extLst>
              <a:ext uri="{FF2B5EF4-FFF2-40B4-BE49-F238E27FC236}">
                <a16:creationId xmlns:a16="http://schemas.microsoft.com/office/drawing/2014/main" id="{D190F613-34A7-7F89-EBBF-E58409C5D5CD}"/>
              </a:ext>
            </a:extLst>
          </p:cNvPr>
          <p:cNvGrpSpPr/>
          <p:nvPr/>
        </p:nvGrpSpPr>
        <p:grpSpPr>
          <a:xfrm>
            <a:off x="6486661" y="4190333"/>
            <a:ext cx="317350" cy="224226"/>
            <a:chOff x="1590595" y="6088787"/>
            <a:chExt cx="317350" cy="224226"/>
          </a:xfrm>
        </p:grpSpPr>
        <p:sp>
          <p:nvSpPr>
            <p:cNvPr id="226" name="TextBox 225">
              <a:extLst>
                <a:ext uri="{FF2B5EF4-FFF2-40B4-BE49-F238E27FC236}">
                  <a16:creationId xmlns:a16="http://schemas.microsoft.com/office/drawing/2014/main" id="{B9AFDB8F-7D19-7947-157A-7C700723EFA1}"/>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2</a:t>
              </a:r>
            </a:p>
          </p:txBody>
        </p:sp>
        <p:sp>
          <p:nvSpPr>
            <p:cNvPr id="227" name="Oval 226">
              <a:extLst>
                <a:ext uri="{FF2B5EF4-FFF2-40B4-BE49-F238E27FC236}">
                  <a16:creationId xmlns:a16="http://schemas.microsoft.com/office/drawing/2014/main" id="{DDAE8E60-B6C9-D4D3-0FE0-2113CD853EF7}"/>
                </a:ext>
              </a:extLst>
            </p:cNvPr>
            <p:cNvSpPr/>
            <p:nvPr/>
          </p:nvSpPr>
          <p:spPr>
            <a:xfrm>
              <a:off x="1629654" y="6088787"/>
              <a:ext cx="216000" cy="216000"/>
            </a:xfrm>
            <a:prstGeom prst="ellipse">
              <a:avLst/>
            </a:prstGeom>
            <a:no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grpSp>
      <p:grpSp>
        <p:nvGrpSpPr>
          <p:cNvPr id="228" name="Group 227">
            <a:extLst>
              <a:ext uri="{FF2B5EF4-FFF2-40B4-BE49-F238E27FC236}">
                <a16:creationId xmlns:a16="http://schemas.microsoft.com/office/drawing/2014/main" id="{2718DBAF-79D6-4477-A15D-19E37081D334}"/>
              </a:ext>
            </a:extLst>
          </p:cNvPr>
          <p:cNvGrpSpPr/>
          <p:nvPr/>
        </p:nvGrpSpPr>
        <p:grpSpPr>
          <a:xfrm>
            <a:off x="8247147" y="4199115"/>
            <a:ext cx="317350" cy="224226"/>
            <a:chOff x="1590595" y="6088787"/>
            <a:chExt cx="317350" cy="224226"/>
          </a:xfrm>
        </p:grpSpPr>
        <p:sp>
          <p:nvSpPr>
            <p:cNvPr id="229" name="TextBox 228">
              <a:extLst>
                <a:ext uri="{FF2B5EF4-FFF2-40B4-BE49-F238E27FC236}">
                  <a16:creationId xmlns:a16="http://schemas.microsoft.com/office/drawing/2014/main" id="{0A7566C5-AA61-0D15-CE83-9BF0972ACC7C}"/>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3</a:t>
              </a:r>
            </a:p>
          </p:txBody>
        </p:sp>
        <p:sp>
          <p:nvSpPr>
            <p:cNvPr id="230" name="Oval 229">
              <a:extLst>
                <a:ext uri="{FF2B5EF4-FFF2-40B4-BE49-F238E27FC236}">
                  <a16:creationId xmlns:a16="http://schemas.microsoft.com/office/drawing/2014/main" id="{CCB6FE9B-8D15-9B11-DAFA-5C101CFCA2CC}"/>
                </a:ext>
              </a:extLst>
            </p:cNvPr>
            <p:cNvSpPr/>
            <p:nvPr/>
          </p:nvSpPr>
          <p:spPr>
            <a:xfrm>
              <a:off x="1629654" y="6088787"/>
              <a:ext cx="216000" cy="216000"/>
            </a:xfrm>
            <a:prstGeom prst="ellipse">
              <a:avLst/>
            </a:prstGeom>
            <a:no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grpSp>
      <p:grpSp>
        <p:nvGrpSpPr>
          <p:cNvPr id="231" name="Group 230">
            <a:extLst>
              <a:ext uri="{FF2B5EF4-FFF2-40B4-BE49-F238E27FC236}">
                <a16:creationId xmlns:a16="http://schemas.microsoft.com/office/drawing/2014/main" id="{4ADAF97C-2916-68B7-7F46-B26A46130431}"/>
              </a:ext>
            </a:extLst>
          </p:cNvPr>
          <p:cNvGrpSpPr/>
          <p:nvPr/>
        </p:nvGrpSpPr>
        <p:grpSpPr>
          <a:xfrm>
            <a:off x="2030721" y="1379198"/>
            <a:ext cx="8940408" cy="1890731"/>
            <a:chOff x="3543303" y="1555294"/>
            <a:chExt cx="2095497" cy="2671951"/>
          </a:xfrm>
        </p:grpSpPr>
        <p:sp>
          <p:nvSpPr>
            <p:cNvPr id="232" name="Rectangle 231">
              <a:extLst>
                <a:ext uri="{FF2B5EF4-FFF2-40B4-BE49-F238E27FC236}">
                  <a16:creationId xmlns:a16="http://schemas.microsoft.com/office/drawing/2014/main" id="{998CEA8B-FE0A-0D57-9F40-C1278DD19F31}"/>
                </a:ext>
              </a:extLst>
            </p:cNvPr>
            <p:cNvSpPr/>
            <p:nvPr/>
          </p:nvSpPr>
          <p:spPr>
            <a:xfrm>
              <a:off x="3543303" y="1563165"/>
              <a:ext cx="2095497" cy="2664080"/>
            </a:xfrm>
            <a:prstGeom prst="rect">
              <a:avLst/>
            </a:prstGeom>
            <a:solidFill>
              <a:schemeClr val="accent1">
                <a:lumMod val="20000"/>
                <a:lumOff val="80000"/>
              </a:schemeClr>
            </a:solidFill>
            <a:ln w="9525">
              <a:solidFill>
                <a:srgbClr val="9DD4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Open Sans" panose="020B0606030504020204" pitchFamily="34" charset="0"/>
              </a:endParaRPr>
            </a:p>
          </p:txBody>
        </p:sp>
        <p:sp>
          <p:nvSpPr>
            <p:cNvPr id="233" name="Pentagon 23">
              <a:extLst>
                <a:ext uri="{FF2B5EF4-FFF2-40B4-BE49-F238E27FC236}">
                  <a16:creationId xmlns:a16="http://schemas.microsoft.com/office/drawing/2014/main" id="{0268C530-8064-8903-8C96-E9E03CF198D5}"/>
                </a:ext>
              </a:extLst>
            </p:cNvPr>
            <p:cNvSpPr/>
            <p:nvPr/>
          </p:nvSpPr>
          <p:spPr bwMode="gray">
            <a:xfrm>
              <a:off x="3543303" y="1555294"/>
              <a:ext cx="2095497" cy="371513"/>
            </a:xfrm>
            <a:prstGeom prst="homePlate">
              <a:avLst>
                <a:gd name="adj" fmla="val 0"/>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88900" rIns="88900" bIns="88900" rtlCol="0" anchor="ctr"/>
            <a:lstStyle/>
            <a:p>
              <a:pPr algn="ctr"/>
              <a:r>
                <a:rPr lang="en-US" sz="105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HATBOT ENGINE</a:t>
              </a:r>
            </a:p>
          </p:txBody>
        </p:sp>
      </p:grpSp>
      <p:grpSp>
        <p:nvGrpSpPr>
          <p:cNvPr id="234" name="Group 233">
            <a:extLst>
              <a:ext uri="{FF2B5EF4-FFF2-40B4-BE49-F238E27FC236}">
                <a16:creationId xmlns:a16="http://schemas.microsoft.com/office/drawing/2014/main" id="{C59714CB-DCD4-B449-EAE0-8AD952910760}"/>
              </a:ext>
            </a:extLst>
          </p:cNvPr>
          <p:cNvGrpSpPr/>
          <p:nvPr/>
        </p:nvGrpSpPr>
        <p:grpSpPr>
          <a:xfrm>
            <a:off x="1815631" y="2188776"/>
            <a:ext cx="317350" cy="224226"/>
            <a:chOff x="1590595" y="6088787"/>
            <a:chExt cx="317350" cy="224226"/>
          </a:xfrm>
        </p:grpSpPr>
        <p:sp>
          <p:nvSpPr>
            <p:cNvPr id="235" name="Oval 234">
              <a:extLst>
                <a:ext uri="{FF2B5EF4-FFF2-40B4-BE49-F238E27FC236}">
                  <a16:creationId xmlns:a16="http://schemas.microsoft.com/office/drawing/2014/main" id="{1E8A0FBB-C677-3D7E-CC3C-0A6A404B83B3}"/>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36" name="TextBox 235">
              <a:extLst>
                <a:ext uri="{FF2B5EF4-FFF2-40B4-BE49-F238E27FC236}">
                  <a16:creationId xmlns:a16="http://schemas.microsoft.com/office/drawing/2014/main" id="{AA952DC3-B514-EAC8-44CD-68118A5B19FF}"/>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dirty="0">
                  <a:ln>
                    <a:noFill/>
                  </a:ln>
                  <a:solidFill>
                    <a:srgbClr val="D3D3D3"/>
                  </a:solidFill>
                  <a:effectLst/>
                  <a:uLnTx/>
                  <a:uFillTx/>
                  <a:latin typeface="Arial" panose="020B0604020202020204" pitchFamily="34" charset="0"/>
                  <a:cs typeface="Arial" panose="020B0604020202020204" pitchFamily="34" charset="0"/>
                </a:rPr>
                <a:t> 4</a:t>
              </a:r>
            </a:p>
          </p:txBody>
        </p:sp>
      </p:grpSp>
      <p:sp>
        <p:nvSpPr>
          <p:cNvPr id="237" name="Pentagon 23">
            <a:extLst>
              <a:ext uri="{FF2B5EF4-FFF2-40B4-BE49-F238E27FC236}">
                <a16:creationId xmlns:a16="http://schemas.microsoft.com/office/drawing/2014/main" id="{CDA9FB9A-DBFD-125C-4BD1-4929A8A3E84B}"/>
              </a:ext>
            </a:extLst>
          </p:cNvPr>
          <p:cNvSpPr/>
          <p:nvPr/>
        </p:nvSpPr>
        <p:spPr bwMode="gray">
          <a:xfrm>
            <a:off x="2294817" y="2044607"/>
            <a:ext cx="1350418" cy="859888"/>
          </a:xfrm>
          <a:prstGeom prst="homePlat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88900" rIns="88900" bIns="88900" rtlCol="0" anchor="ctr"/>
          <a:lstStyle/>
          <a:p>
            <a:pPr algn="ctr"/>
            <a:r>
              <a:rPr lang="en-US" sz="9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user asks a question (also known as user prompt)</a:t>
            </a:r>
          </a:p>
        </p:txBody>
      </p:sp>
      <p:cxnSp>
        <p:nvCxnSpPr>
          <p:cNvPr id="238" name="Straight Arrow Connector 237">
            <a:extLst>
              <a:ext uri="{FF2B5EF4-FFF2-40B4-BE49-F238E27FC236}">
                <a16:creationId xmlns:a16="http://schemas.microsoft.com/office/drawing/2014/main" id="{BE943C32-066C-AAE3-1E72-349CCB96A75E}"/>
              </a:ext>
            </a:extLst>
          </p:cNvPr>
          <p:cNvCxnSpPr>
            <a:cxnSpLocks/>
          </p:cNvCxnSpPr>
          <p:nvPr/>
        </p:nvCxnSpPr>
        <p:spPr>
          <a:xfrm>
            <a:off x="3788454" y="2486160"/>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39" name="Group 238">
            <a:extLst>
              <a:ext uri="{FF2B5EF4-FFF2-40B4-BE49-F238E27FC236}">
                <a16:creationId xmlns:a16="http://schemas.microsoft.com/office/drawing/2014/main" id="{8DA69E8D-B207-C129-C460-A36B8609B0BA}"/>
              </a:ext>
            </a:extLst>
          </p:cNvPr>
          <p:cNvGrpSpPr/>
          <p:nvPr/>
        </p:nvGrpSpPr>
        <p:grpSpPr>
          <a:xfrm>
            <a:off x="3755779" y="2174319"/>
            <a:ext cx="317350" cy="224226"/>
            <a:chOff x="1590595" y="6088787"/>
            <a:chExt cx="317350" cy="224226"/>
          </a:xfrm>
        </p:grpSpPr>
        <p:sp>
          <p:nvSpPr>
            <p:cNvPr id="240" name="Oval 239">
              <a:extLst>
                <a:ext uri="{FF2B5EF4-FFF2-40B4-BE49-F238E27FC236}">
                  <a16:creationId xmlns:a16="http://schemas.microsoft.com/office/drawing/2014/main" id="{5F178360-05C2-C466-5049-077F025C2DD5}"/>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41" name="TextBox 240">
              <a:extLst>
                <a:ext uri="{FF2B5EF4-FFF2-40B4-BE49-F238E27FC236}">
                  <a16:creationId xmlns:a16="http://schemas.microsoft.com/office/drawing/2014/main" id="{1C8F8A91-F4D0-7396-C54B-964A3FF05A08}"/>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5</a:t>
              </a:r>
            </a:p>
          </p:txBody>
        </p:sp>
      </p:grpSp>
      <p:sp>
        <p:nvSpPr>
          <p:cNvPr id="242" name="Pentagon 23">
            <a:extLst>
              <a:ext uri="{FF2B5EF4-FFF2-40B4-BE49-F238E27FC236}">
                <a16:creationId xmlns:a16="http://schemas.microsoft.com/office/drawing/2014/main" id="{ED8E590E-EEFA-59F2-62F0-ECFACE72C69B}"/>
              </a:ext>
            </a:extLst>
          </p:cNvPr>
          <p:cNvSpPr/>
          <p:nvPr/>
        </p:nvSpPr>
        <p:spPr bwMode="gray">
          <a:xfrm>
            <a:off x="4226669" y="2053878"/>
            <a:ext cx="1350418" cy="859888"/>
          </a:xfrm>
          <a:prstGeom prst="homePlat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88900" rIns="88900" bIns="88900" rtlCol="0" anchor="ctr"/>
          <a:lstStyle/>
          <a:p>
            <a:pPr algn="ctr"/>
            <a:r>
              <a:rPr lang="en-US" sz="9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question is converted into a vector using the Embedding Model</a:t>
            </a:r>
          </a:p>
        </p:txBody>
      </p:sp>
      <p:cxnSp>
        <p:nvCxnSpPr>
          <p:cNvPr id="243" name="Connector: Curved 1190">
            <a:extLst>
              <a:ext uri="{FF2B5EF4-FFF2-40B4-BE49-F238E27FC236}">
                <a16:creationId xmlns:a16="http://schemas.microsoft.com/office/drawing/2014/main" id="{BC193E15-4C6F-83D3-DC7A-BB07EF8DD66B}"/>
              </a:ext>
            </a:extLst>
          </p:cNvPr>
          <p:cNvCxnSpPr>
            <a:cxnSpLocks/>
          </p:cNvCxnSpPr>
          <p:nvPr/>
        </p:nvCxnSpPr>
        <p:spPr>
          <a:xfrm>
            <a:off x="5084757" y="2964798"/>
            <a:ext cx="1752485" cy="1145609"/>
          </a:xfrm>
          <a:prstGeom prst="curvedConnector3">
            <a:avLst>
              <a:gd name="adj1" fmla="val 7709"/>
            </a:avLst>
          </a:prstGeom>
          <a:ln w="9525">
            <a:solidFill>
              <a:srgbClr val="BFBFBF"/>
            </a:solidFill>
            <a:tailEnd type="triangle"/>
          </a:ln>
        </p:spPr>
        <p:style>
          <a:lnRef idx="1">
            <a:schemeClr val="accent6"/>
          </a:lnRef>
          <a:fillRef idx="0">
            <a:schemeClr val="accent6"/>
          </a:fillRef>
          <a:effectRef idx="0">
            <a:schemeClr val="accent6"/>
          </a:effectRef>
          <a:fontRef idx="minor">
            <a:schemeClr val="tx1"/>
          </a:fontRef>
        </p:style>
      </p:cxnSp>
      <p:grpSp>
        <p:nvGrpSpPr>
          <p:cNvPr id="244" name="Group 243">
            <a:extLst>
              <a:ext uri="{FF2B5EF4-FFF2-40B4-BE49-F238E27FC236}">
                <a16:creationId xmlns:a16="http://schemas.microsoft.com/office/drawing/2014/main" id="{20BE27A7-3B47-AE43-A5DA-1F701DFC85F0}"/>
              </a:ext>
            </a:extLst>
          </p:cNvPr>
          <p:cNvGrpSpPr/>
          <p:nvPr/>
        </p:nvGrpSpPr>
        <p:grpSpPr>
          <a:xfrm>
            <a:off x="4823869" y="3010581"/>
            <a:ext cx="317350" cy="224226"/>
            <a:chOff x="1590595" y="6088787"/>
            <a:chExt cx="317350" cy="224226"/>
          </a:xfrm>
        </p:grpSpPr>
        <p:sp>
          <p:nvSpPr>
            <p:cNvPr id="245" name="Oval 244">
              <a:extLst>
                <a:ext uri="{FF2B5EF4-FFF2-40B4-BE49-F238E27FC236}">
                  <a16:creationId xmlns:a16="http://schemas.microsoft.com/office/drawing/2014/main" id="{761D5972-A2AA-6F89-64F6-7DA0A0E113A3}"/>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46" name="TextBox 245">
              <a:extLst>
                <a:ext uri="{FF2B5EF4-FFF2-40B4-BE49-F238E27FC236}">
                  <a16:creationId xmlns:a16="http://schemas.microsoft.com/office/drawing/2014/main" id="{6AE7896E-735F-0CD9-8D18-D3BDDDAD8C63}"/>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5</a:t>
              </a:r>
            </a:p>
          </p:txBody>
        </p:sp>
      </p:grpSp>
      <p:cxnSp>
        <p:nvCxnSpPr>
          <p:cNvPr id="247" name="Straight Arrow Connector 246">
            <a:extLst>
              <a:ext uri="{FF2B5EF4-FFF2-40B4-BE49-F238E27FC236}">
                <a16:creationId xmlns:a16="http://schemas.microsoft.com/office/drawing/2014/main" id="{A6AFD0DF-7464-D7DB-1FA8-19364E0BA99B}"/>
              </a:ext>
            </a:extLst>
          </p:cNvPr>
          <p:cNvCxnSpPr>
            <a:cxnSpLocks/>
          </p:cNvCxnSpPr>
          <p:nvPr/>
        </p:nvCxnSpPr>
        <p:spPr>
          <a:xfrm>
            <a:off x="5826312" y="2504381"/>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936A8B88-81C7-0594-F78E-BEC363F8C75A}"/>
              </a:ext>
            </a:extLst>
          </p:cNvPr>
          <p:cNvGrpSpPr/>
          <p:nvPr/>
        </p:nvGrpSpPr>
        <p:grpSpPr>
          <a:xfrm>
            <a:off x="5793637" y="2192540"/>
            <a:ext cx="317350" cy="224226"/>
            <a:chOff x="1590595" y="6088787"/>
            <a:chExt cx="317350" cy="224226"/>
          </a:xfrm>
        </p:grpSpPr>
        <p:sp>
          <p:nvSpPr>
            <p:cNvPr id="249" name="Oval 248">
              <a:extLst>
                <a:ext uri="{FF2B5EF4-FFF2-40B4-BE49-F238E27FC236}">
                  <a16:creationId xmlns:a16="http://schemas.microsoft.com/office/drawing/2014/main" id="{FD2A8CEC-5FB1-A398-B506-A811AF48402E}"/>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50" name="TextBox 249">
              <a:extLst>
                <a:ext uri="{FF2B5EF4-FFF2-40B4-BE49-F238E27FC236}">
                  <a16:creationId xmlns:a16="http://schemas.microsoft.com/office/drawing/2014/main" id="{C0229CF0-3245-809D-4BF6-51CEE77F411C}"/>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6</a:t>
              </a:r>
            </a:p>
          </p:txBody>
        </p:sp>
      </p:grpSp>
      <p:sp>
        <p:nvSpPr>
          <p:cNvPr id="251" name="Pentagon 23">
            <a:extLst>
              <a:ext uri="{FF2B5EF4-FFF2-40B4-BE49-F238E27FC236}">
                <a16:creationId xmlns:a16="http://schemas.microsoft.com/office/drawing/2014/main" id="{6A2CC277-FB61-A58D-FF04-7D85A5C57427}"/>
              </a:ext>
            </a:extLst>
          </p:cNvPr>
          <p:cNvSpPr/>
          <p:nvPr/>
        </p:nvSpPr>
        <p:spPr bwMode="gray">
          <a:xfrm>
            <a:off x="6337721" y="2091646"/>
            <a:ext cx="1399072" cy="859888"/>
          </a:xfrm>
          <a:prstGeom prst="homePlat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88900" rIns="88900" bIns="88900" rtlCol="0" anchor="ctr"/>
          <a:lstStyle/>
          <a:p>
            <a:pPr algn="ctr"/>
            <a:r>
              <a:rPr lang="en-US" sz="9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vector is indexed in the database to be compared with vectors from the knowledge base</a:t>
            </a:r>
          </a:p>
        </p:txBody>
      </p:sp>
      <p:cxnSp>
        <p:nvCxnSpPr>
          <p:cNvPr id="252" name="Connector: Curved 1199">
            <a:extLst>
              <a:ext uri="{FF2B5EF4-FFF2-40B4-BE49-F238E27FC236}">
                <a16:creationId xmlns:a16="http://schemas.microsoft.com/office/drawing/2014/main" id="{7026AF97-9991-B80B-A14E-8F28D694D86E}"/>
              </a:ext>
            </a:extLst>
          </p:cNvPr>
          <p:cNvCxnSpPr>
            <a:cxnSpLocks/>
          </p:cNvCxnSpPr>
          <p:nvPr/>
        </p:nvCxnSpPr>
        <p:spPr>
          <a:xfrm>
            <a:off x="7325396" y="2981704"/>
            <a:ext cx="1267245" cy="1085646"/>
          </a:xfrm>
          <a:prstGeom prst="curvedConnector3">
            <a:avLst>
              <a:gd name="adj1" fmla="val 37847"/>
            </a:avLst>
          </a:prstGeom>
          <a:ln w="9525">
            <a:solidFill>
              <a:srgbClr val="BFBFBF"/>
            </a:solidFill>
            <a:tailEnd type="triangle"/>
          </a:ln>
        </p:spPr>
        <p:style>
          <a:lnRef idx="1">
            <a:schemeClr val="accent6"/>
          </a:lnRef>
          <a:fillRef idx="0">
            <a:schemeClr val="accent6"/>
          </a:fillRef>
          <a:effectRef idx="0">
            <a:schemeClr val="accent6"/>
          </a:effectRef>
          <a:fontRef idx="minor">
            <a:schemeClr val="tx1"/>
          </a:fontRef>
        </p:style>
      </p:cxnSp>
      <p:grpSp>
        <p:nvGrpSpPr>
          <p:cNvPr id="253" name="Group 252">
            <a:extLst>
              <a:ext uri="{FF2B5EF4-FFF2-40B4-BE49-F238E27FC236}">
                <a16:creationId xmlns:a16="http://schemas.microsoft.com/office/drawing/2014/main" id="{A79538B1-C484-A858-4AF6-0FAF74F807E5}"/>
              </a:ext>
            </a:extLst>
          </p:cNvPr>
          <p:cNvGrpSpPr/>
          <p:nvPr/>
        </p:nvGrpSpPr>
        <p:grpSpPr>
          <a:xfrm>
            <a:off x="7220136" y="3026684"/>
            <a:ext cx="317350" cy="224226"/>
            <a:chOff x="1590595" y="6088787"/>
            <a:chExt cx="317350" cy="224226"/>
          </a:xfrm>
        </p:grpSpPr>
        <p:sp>
          <p:nvSpPr>
            <p:cNvPr id="254" name="Oval 253">
              <a:extLst>
                <a:ext uri="{FF2B5EF4-FFF2-40B4-BE49-F238E27FC236}">
                  <a16:creationId xmlns:a16="http://schemas.microsoft.com/office/drawing/2014/main" id="{D77A2CB9-407B-140F-1A8C-61D761DAB816}"/>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55" name="TextBox 254">
              <a:extLst>
                <a:ext uri="{FF2B5EF4-FFF2-40B4-BE49-F238E27FC236}">
                  <a16:creationId xmlns:a16="http://schemas.microsoft.com/office/drawing/2014/main" id="{68A19648-66C5-6705-E8A3-4BCB7A881A70}"/>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6</a:t>
              </a:r>
            </a:p>
          </p:txBody>
        </p:sp>
      </p:grpSp>
      <p:sp>
        <p:nvSpPr>
          <p:cNvPr id="256" name="Oval 255">
            <a:extLst>
              <a:ext uri="{FF2B5EF4-FFF2-40B4-BE49-F238E27FC236}">
                <a16:creationId xmlns:a16="http://schemas.microsoft.com/office/drawing/2014/main" id="{3A0E0715-1515-3FBE-A9E0-39CD8D14DBB8}"/>
              </a:ext>
            </a:extLst>
          </p:cNvPr>
          <p:cNvSpPr/>
          <p:nvPr/>
        </p:nvSpPr>
        <p:spPr bwMode="gray">
          <a:xfrm>
            <a:off x="8848650" y="4032215"/>
            <a:ext cx="1491663" cy="900000"/>
          </a:xfrm>
          <a:prstGeom prst="ellipse">
            <a:avLst/>
          </a:prstGeom>
          <a:noFill/>
          <a:ln w="6350" algn="ctr">
            <a:solidFill>
              <a:srgbClr val="BFBFBF"/>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57" name="Oval 256">
            <a:extLst>
              <a:ext uri="{FF2B5EF4-FFF2-40B4-BE49-F238E27FC236}">
                <a16:creationId xmlns:a16="http://schemas.microsoft.com/office/drawing/2014/main" id="{65798A4E-E5BC-987A-53AE-AE284B93E921}"/>
              </a:ext>
            </a:extLst>
          </p:cNvPr>
          <p:cNvSpPr/>
          <p:nvPr/>
        </p:nvSpPr>
        <p:spPr bwMode="gray">
          <a:xfrm>
            <a:off x="9001050" y="4165365"/>
            <a:ext cx="768267" cy="606096"/>
          </a:xfrm>
          <a:prstGeom prst="ellipse">
            <a:avLst/>
          </a:prstGeom>
          <a:noFill/>
          <a:ln w="6350" algn="ctr">
            <a:solidFill>
              <a:srgbClr val="E3E48D"/>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58" name="Oval 257">
            <a:extLst>
              <a:ext uri="{FF2B5EF4-FFF2-40B4-BE49-F238E27FC236}">
                <a16:creationId xmlns:a16="http://schemas.microsoft.com/office/drawing/2014/main" id="{57C38054-1F10-93CC-B50D-BFD2B4148128}"/>
              </a:ext>
            </a:extLst>
          </p:cNvPr>
          <p:cNvSpPr>
            <a:spLocks noChangeAspect="1"/>
          </p:cNvSpPr>
          <p:nvPr/>
        </p:nvSpPr>
        <p:spPr bwMode="gray">
          <a:xfrm>
            <a:off x="9938682" y="4406333"/>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59" name="Oval 258">
            <a:extLst>
              <a:ext uri="{FF2B5EF4-FFF2-40B4-BE49-F238E27FC236}">
                <a16:creationId xmlns:a16="http://schemas.microsoft.com/office/drawing/2014/main" id="{93F70254-B87A-A6B1-A289-373F0FC7DF0C}"/>
              </a:ext>
            </a:extLst>
          </p:cNvPr>
          <p:cNvSpPr>
            <a:spLocks noChangeAspect="1"/>
          </p:cNvSpPr>
          <p:nvPr/>
        </p:nvSpPr>
        <p:spPr bwMode="gray">
          <a:xfrm>
            <a:off x="10091082" y="4558733"/>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0" name="Oval 259">
            <a:extLst>
              <a:ext uri="{FF2B5EF4-FFF2-40B4-BE49-F238E27FC236}">
                <a16:creationId xmlns:a16="http://schemas.microsoft.com/office/drawing/2014/main" id="{4CB4FA07-DA66-77D2-7E0C-4DDE5285A09A}"/>
              </a:ext>
            </a:extLst>
          </p:cNvPr>
          <p:cNvSpPr>
            <a:spLocks noChangeAspect="1"/>
          </p:cNvSpPr>
          <p:nvPr/>
        </p:nvSpPr>
        <p:spPr bwMode="gray">
          <a:xfrm>
            <a:off x="9810345" y="4711133"/>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1" name="Oval 260">
            <a:extLst>
              <a:ext uri="{FF2B5EF4-FFF2-40B4-BE49-F238E27FC236}">
                <a16:creationId xmlns:a16="http://schemas.microsoft.com/office/drawing/2014/main" id="{0C516227-F9E7-A9AD-D48E-F5BA5BC0C3D2}"/>
              </a:ext>
            </a:extLst>
          </p:cNvPr>
          <p:cNvSpPr>
            <a:spLocks noChangeAspect="1"/>
          </p:cNvSpPr>
          <p:nvPr/>
        </p:nvSpPr>
        <p:spPr bwMode="gray">
          <a:xfrm>
            <a:off x="10089477" y="4297246"/>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2" name="Oval 261">
            <a:extLst>
              <a:ext uri="{FF2B5EF4-FFF2-40B4-BE49-F238E27FC236}">
                <a16:creationId xmlns:a16="http://schemas.microsoft.com/office/drawing/2014/main" id="{1768B143-402F-7904-5140-CFE9FBE503E7}"/>
              </a:ext>
            </a:extLst>
          </p:cNvPr>
          <p:cNvSpPr>
            <a:spLocks noChangeAspect="1"/>
          </p:cNvSpPr>
          <p:nvPr/>
        </p:nvSpPr>
        <p:spPr bwMode="gray">
          <a:xfrm>
            <a:off x="9885742" y="4266765"/>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3" name="Oval 262">
            <a:extLst>
              <a:ext uri="{FF2B5EF4-FFF2-40B4-BE49-F238E27FC236}">
                <a16:creationId xmlns:a16="http://schemas.microsoft.com/office/drawing/2014/main" id="{4A720EE1-9532-E806-73E6-CC3F967B9429}"/>
              </a:ext>
            </a:extLst>
          </p:cNvPr>
          <p:cNvSpPr>
            <a:spLocks noChangeAspect="1"/>
          </p:cNvSpPr>
          <p:nvPr/>
        </p:nvSpPr>
        <p:spPr bwMode="gray">
          <a:xfrm>
            <a:off x="9691632" y="4149659"/>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4" name="Oval 263">
            <a:extLst>
              <a:ext uri="{FF2B5EF4-FFF2-40B4-BE49-F238E27FC236}">
                <a16:creationId xmlns:a16="http://schemas.microsoft.com/office/drawing/2014/main" id="{23DAEAF3-4DDD-D514-249B-7F9DACB65D3F}"/>
              </a:ext>
            </a:extLst>
          </p:cNvPr>
          <p:cNvSpPr>
            <a:spLocks noChangeAspect="1"/>
          </p:cNvSpPr>
          <p:nvPr/>
        </p:nvSpPr>
        <p:spPr bwMode="gray">
          <a:xfrm>
            <a:off x="9844032" y="4533066"/>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5" name="Oval 264">
            <a:extLst>
              <a:ext uri="{FF2B5EF4-FFF2-40B4-BE49-F238E27FC236}">
                <a16:creationId xmlns:a16="http://schemas.microsoft.com/office/drawing/2014/main" id="{EBD417A5-499C-33EB-542E-CDEE8D688ED2}"/>
              </a:ext>
            </a:extLst>
          </p:cNvPr>
          <p:cNvSpPr>
            <a:spLocks noChangeAspect="1"/>
          </p:cNvSpPr>
          <p:nvPr/>
        </p:nvSpPr>
        <p:spPr bwMode="gray">
          <a:xfrm>
            <a:off x="11054471" y="4117355"/>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6" name="TextBox 265">
            <a:extLst>
              <a:ext uri="{FF2B5EF4-FFF2-40B4-BE49-F238E27FC236}">
                <a16:creationId xmlns:a16="http://schemas.microsoft.com/office/drawing/2014/main" id="{86FF4755-1E2D-9D36-2DCB-F66A3A5D7356}"/>
              </a:ext>
            </a:extLst>
          </p:cNvPr>
          <p:cNvSpPr txBox="1"/>
          <p:nvPr/>
        </p:nvSpPr>
        <p:spPr>
          <a:xfrm>
            <a:off x="11169299" y="4100293"/>
            <a:ext cx="702410" cy="123111"/>
          </a:xfrm>
          <a:prstGeom prst="rect">
            <a:avLst/>
          </a:prstGeom>
          <a:noFill/>
        </p:spPr>
        <p:txBody>
          <a:bodyPr wrap="square" lIns="0" tIns="0" rIns="0" bIns="0" rtlCol="0">
            <a:spAutoFit/>
          </a:bodyPr>
          <a:lstStyle/>
          <a:p>
            <a:pPr algn="ctr">
              <a:spcBef>
                <a:spcPts val="600"/>
              </a:spcBef>
              <a:buSzPct val="100000"/>
            </a:pPr>
            <a:r>
              <a:rPr lang="en-US" sz="8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tored Vectors</a:t>
            </a:r>
          </a:p>
        </p:txBody>
      </p:sp>
      <p:sp>
        <p:nvSpPr>
          <p:cNvPr id="267" name="Oval 266">
            <a:extLst>
              <a:ext uri="{FF2B5EF4-FFF2-40B4-BE49-F238E27FC236}">
                <a16:creationId xmlns:a16="http://schemas.microsoft.com/office/drawing/2014/main" id="{BD5A87F8-C092-19E9-26AA-BA3C1D0357AC}"/>
              </a:ext>
            </a:extLst>
          </p:cNvPr>
          <p:cNvSpPr>
            <a:spLocks noChangeAspect="1"/>
          </p:cNvSpPr>
          <p:nvPr/>
        </p:nvSpPr>
        <p:spPr bwMode="gray">
          <a:xfrm>
            <a:off x="9996432" y="4685466"/>
            <a:ext cx="54000" cy="54000"/>
          </a:xfrm>
          <a:prstGeom prst="ellipse">
            <a:avLst/>
          </a:prstGeom>
          <a:solidFill>
            <a:srgbClr val="CC6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8" name="Oval 267">
            <a:extLst>
              <a:ext uri="{FF2B5EF4-FFF2-40B4-BE49-F238E27FC236}">
                <a16:creationId xmlns:a16="http://schemas.microsoft.com/office/drawing/2014/main" id="{5097B15B-359A-778C-962B-C0E5117E9E63}"/>
              </a:ext>
            </a:extLst>
          </p:cNvPr>
          <p:cNvSpPr>
            <a:spLocks noChangeAspect="1"/>
          </p:cNvSpPr>
          <p:nvPr/>
        </p:nvSpPr>
        <p:spPr bwMode="gray">
          <a:xfrm>
            <a:off x="9216843" y="4290954"/>
            <a:ext cx="54000" cy="54000"/>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69" name="Oval 268">
            <a:extLst>
              <a:ext uri="{FF2B5EF4-FFF2-40B4-BE49-F238E27FC236}">
                <a16:creationId xmlns:a16="http://schemas.microsoft.com/office/drawing/2014/main" id="{1E91E770-6173-1D58-F42D-896DA3B1DD11}"/>
              </a:ext>
            </a:extLst>
          </p:cNvPr>
          <p:cNvSpPr>
            <a:spLocks noChangeAspect="1"/>
          </p:cNvSpPr>
          <p:nvPr/>
        </p:nvSpPr>
        <p:spPr bwMode="gray">
          <a:xfrm>
            <a:off x="9369243" y="4443354"/>
            <a:ext cx="54000" cy="54000"/>
          </a:xfrm>
          <a:prstGeom prst="ellipse">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0" name="Oval 269">
            <a:extLst>
              <a:ext uri="{FF2B5EF4-FFF2-40B4-BE49-F238E27FC236}">
                <a16:creationId xmlns:a16="http://schemas.microsoft.com/office/drawing/2014/main" id="{30A01CB1-7609-FA12-0233-FC78BB1109A2}"/>
              </a:ext>
            </a:extLst>
          </p:cNvPr>
          <p:cNvSpPr>
            <a:spLocks noChangeAspect="1"/>
          </p:cNvSpPr>
          <p:nvPr/>
        </p:nvSpPr>
        <p:spPr bwMode="gray">
          <a:xfrm>
            <a:off x="9105159" y="4508890"/>
            <a:ext cx="54000" cy="54000"/>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1" name="Oval 270">
            <a:extLst>
              <a:ext uri="{FF2B5EF4-FFF2-40B4-BE49-F238E27FC236}">
                <a16:creationId xmlns:a16="http://schemas.microsoft.com/office/drawing/2014/main" id="{BCCA613B-38B0-D261-94C1-98F094A36F39}"/>
              </a:ext>
            </a:extLst>
          </p:cNvPr>
          <p:cNvSpPr>
            <a:spLocks noChangeAspect="1"/>
          </p:cNvSpPr>
          <p:nvPr/>
        </p:nvSpPr>
        <p:spPr bwMode="gray">
          <a:xfrm>
            <a:off x="9531488" y="4584067"/>
            <a:ext cx="54000" cy="54000"/>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2" name="Oval 271">
            <a:extLst>
              <a:ext uri="{FF2B5EF4-FFF2-40B4-BE49-F238E27FC236}">
                <a16:creationId xmlns:a16="http://schemas.microsoft.com/office/drawing/2014/main" id="{4DC59363-68CF-2B48-1954-DD1F3B21A2B1}"/>
              </a:ext>
            </a:extLst>
          </p:cNvPr>
          <p:cNvSpPr>
            <a:spLocks noChangeAspect="1"/>
          </p:cNvSpPr>
          <p:nvPr/>
        </p:nvSpPr>
        <p:spPr bwMode="gray">
          <a:xfrm>
            <a:off x="9540481" y="4316641"/>
            <a:ext cx="54000" cy="54000"/>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3" name="Oval 272">
            <a:extLst>
              <a:ext uri="{FF2B5EF4-FFF2-40B4-BE49-F238E27FC236}">
                <a16:creationId xmlns:a16="http://schemas.microsoft.com/office/drawing/2014/main" id="{1F74F209-32C8-FCE4-DE81-487AE3A5927E}"/>
              </a:ext>
            </a:extLst>
          </p:cNvPr>
          <p:cNvSpPr>
            <a:spLocks noChangeAspect="1"/>
          </p:cNvSpPr>
          <p:nvPr/>
        </p:nvSpPr>
        <p:spPr bwMode="gray">
          <a:xfrm>
            <a:off x="9331183" y="4631341"/>
            <a:ext cx="54000" cy="54000"/>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4" name="Oval 273">
            <a:extLst>
              <a:ext uri="{FF2B5EF4-FFF2-40B4-BE49-F238E27FC236}">
                <a16:creationId xmlns:a16="http://schemas.microsoft.com/office/drawing/2014/main" id="{C5666C19-CC47-ACBA-A558-DE38AE7FA54F}"/>
              </a:ext>
            </a:extLst>
          </p:cNvPr>
          <p:cNvSpPr>
            <a:spLocks noChangeAspect="1"/>
          </p:cNvSpPr>
          <p:nvPr/>
        </p:nvSpPr>
        <p:spPr bwMode="gray">
          <a:xfrm>
            <a:off x="11058939" y="5009689"/>
            <a:ext cx="54000" cy="54000"/>
          </a:xfrm>
          <a:prstGeom prst="ellipse">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5" name="Oval 274">
            <a:extLst>
              <a:ext uri="{FF2B5EF4-FFF2-40B4-BE49-F238E27FC236}">
                <a16:creationId xmlns:a16="http://schemas.microsoft.com/office/drawing/2014/main" id="{850760D3-63BF-6709-6CA3-64B46C8A848C}"/>
              </a:ext>
            </a:extLst>
          </p:cNvPr>
          <p:cNvSpPr>
            <a:spLocks noChangeAspect="1"/>
          </p:cNvSpPr>
          <p:nvPr/>
        </p:nvSpPr>
        <p:spPr bwMode="gray">
          <a:xfrm>
            <a:off x="11058939" y="4430969"/>
            <a:ext cx="54000" cy="54000"/>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a:solidFill>
                <a:schemeClr val="bg1"/>
              </a:solidFill>
            </a:endParaRPr>
          </a:p>
        </p:txBody>
      </p:sp>
      <p:sp>
        <p:nvSpPr>
          <p:cNvPr id="276" name="TextBox 275">
            <a:extLst>
              <a:ext uri="{FF2B5EF4-FFF2-40B4-BE49-F238E27FC236}">
                <a16:creationId xmlns:a16="http://schemas.microsoft.com/office/drawing/2014/main" id="{68D7DB05-0A80-E527-2B02-2C0ED53B2C25}"/>
              </a:ext>
            </a:extLst>
          </p:cNvPr>
          <p:cNvSpPr txBox="1"/>
          <p:nvPr/>
        </p:nvSpPr>
        <p:spPr>
          <a:xfrm>
            <a:off x="11164179" y="4391845"/>
            <a:ext cx="837043" cy="492443"/>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Stored vectors considered the most similar to the prompt vector </a:t>
            </a:r>
          </a:p>
        </p:txBody>
      </p:sp>
      <p:sp>
        <p:nvSpPr>
          <p:cNvPr id="277" name="TextBox 276">
            <a:extLst>
              <a:ext uri="{FF2B5EF4-FFF2-40B4-BE49-F238E27FC236}">
                <a16:creationId xmlns:a16="http://schemas.microsoft.com/office/drawing/2014/main" id="{94DF244E-5E42-EA28-9DCC-76931A2569FC}"/>
              </a:ext>
            </a:extLst>
          </p:cNvPr>
          <p:cNvSpPr txBox="1"/>
          <p:nvPr/>
        </p:nvSpPr>
        <p:spPr>
          <a:xfrm>
            <a:off x="11164179" y="5007840"/>
            <a:ext cx="702410" cy="12311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Prompt vector</a:t>
            </a:r>
          </a:p>
        </p:txBody>
      </p:sp>
      <p:cxnSp>
        <p:nvCxnSpPr>
          <p:cNvPr id="278" name="Straight Arrow Connector 277">
            <a:extLst>
              <a:ext uri="{FF2B5EF4-FFF2-40B4-BE49-F238E27FC236}">
                <a16:creationId xmlns:a16="http://schemas.microsoft.com/office/drawing/2014/main" id="{8D48C229-F31D-0A31-B25A-A67C82ED10AC}"/>
              </a:ext>
            </a:extLst>
          </p:cNvPr>
          <p:cNvCxnSpPr>
            <a:cxnSpLocks/>
          </p:cNvCxnSpPr>
          <p:nvPr/>
        </p:nvCxnSpPr>
        <p:spPr>
          <a:xfrm>
            <a:off x="7906160" y="2532247"/>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9" name="Group 278">
            <a:extLst>
              <a:ext uri="{FF2B5EF4-FFF2-40B4-BE49-F238E27FC236}">
                <a16:creationId xmlns:a16="http://schemas.microsoft.com/office/drawing/2014/main" id="{3D4157F2-38E6-08F5-C08E-77049960B31F}"/>
              </a:ext>
            </a:extLst>
          </p:cNvPr>
          <p:cNvGrpSpPr/>
          <p:nvPr/>
        </p:nvGrpSpPr>
        <p:grpSpPr>
          <a:xfrm>
            <a:off x="7873485" y="2220406"/>
            <a:ext cx="317350" cy="224226"/>
            <a:chOff x="1590595" y="6088787"/>
            <a:chExt cx="317350" cy="224226"/>
          </a:xfrm>
        </p:grpSpPr>
        <p:sp>
          <p:nvSpPr>
            <p:cNvPr id="280" name="Oval 279">
              <a:extLst>
                <a:ext uri="{FF2B5EF4-FFF2-40B4-BE49-F238E27FC236}">
                  <a16:creationId xmlns:a16="http://schemas.microsoft.com/office/drawing/2014/main" id="{681322F8-4DB3-5D9E-8F17-4492E6A15D1C}"/>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81" name="TextBox 280">
              <a:extLst>
                <a:ext uri="{FF2B5EF4-FFF2-40B4-BE49-F238E27FC236}">
                  <a16:creationId xmlns:a16="http://schemas.microsoft.com/office/drawing/2014/main" id="{4613923D-B0CD-10C8-9D10-7017E231E3AA}"/>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7</a:t>
              </a:r>
            </a:p>
          </p:txBody>
        </p:sp>
      </p:grpSp>
      <p:sp>
        <p:nvSpPr>
          <p:cNvPr id="282" name="Pentagon 23">
            <a:extLst>
              <a:ext uri="{FF2B5EF4-FFF2-40B4-BE49-F238E27FC236}">
                <a16:creationId xmlns:a16="http://schemas.microsoft.com/office/drawing/2014/main" id="{55AEDCB0-69E2-797F-C989-C25A677B9D4E}"/>
              </a:ext>
            </a:extLst>
          </p:cNvPr>
          <p:cNvSpPr/>
          <p:nvPr/>
        </p:nvSpPr>
        <p:spPr bwMode="gray">
          <a:xfrm>
            <a:off x="8344375" y="2099965"/>
            <a:ext cx="1350418" cy="859888"/>
          </a:xfrm>
          <a:prstGeom prst="homePlat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88900" rIns="88900" bIns="88900" rtlCol="0" anchor="ctr"/>
          <a:lstStyle/>
          <a:p>
            <a:pPr algn="ctr"/>
            <a:r>
              <a:rPr lang="en-US" sz="9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retrieved similar text chunks are used as context to answer the user prompt</a:t>
            </a:r>
          </a:p>
        </p:txBody>
      </p:sp>
      <p:pic>
        <p:nvPicPr>
          <p:cNvPr id="283" name="Picture 2" descr="OpenAI Logo | Real Company | Alphabet, Letter O Logo">
            <a:extLst>
              <a:ext uri="{FF2B5EF4-FFF2-40B4-BE49-F238E27FC236}">
                <a16:creationId xmlns:a16="http://schemas.microsoft.com/office/drawing/2014/main" id="{ECA747D1-403B-F9FD-DFFD-3DD510F7A0A7}"/>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21641" y="2255218"/>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84" name="TextBox 283">
            <a:extLst>
              <a:ext uri="{FF2B5EF4-FFF2-40B4-BE49-F238E27FC236}">
                <a16:creationId xmlns:a16="http://schemas.microsoft.com/office/drawing/2014/main" id="{B43B5024-5E5A-7480-0453-42F87C5C13D7}"/>
              </a:ext>
            </a:extLst>
          </p:cNvPr>
          <p:cNvSpPr txBox="1"/>
          <p:nvPr/>
        </p:nvSpPr>
        <p:spPr>
          <a:xfrm>
            <a:off x="9943495" y="2653791"/>
            <a:ext cx="900000" cy="123111"/>
          </a:xfrm>
          <a:prstGeom prst="rect">
            <a:avLst/>
          </a:prstGeom>
          <a:noFill/>
        </p:spPr>
        <p:txBody>
          <a:bodyPr wrap="square" lIns="0" tIns="0" rIns="0" bIns="0" rtlCol="0">
            <a:spAutoFit/>
          </a:bodyPr>
          <a:lstStyle/>
          <a:p>
            <a:pPr algn="ctr">
              <a:spcBef>
                <a:spcPts val="600"/>
              </a:spcBef>
              <a:buSzPct val="100000"/>
            </a:pPr>
            <a:r>
              <a:rPr lang="en-US" sz="800">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rPr>
              <a:t>LLM</a:t>
            </a:r>
          </a:p>
        </p:txBody>
      </p:sp>
      <p:cxnSp>
        <p:nvCxnSpPr>
          <p:cNvPr id="285" name="Straight Arrow Connector 284">
            <a:extLst>
              <a:ext uri="{FF2B5EF4-FFF2-40B4-BE49-F238E27FC236}">
                <a16:creationId xmlns:a16="http://schemas.microsoft.com/office/drawing/2014/main" id="{75F01E0A-5A4F-C347-6243-D134F9E30051}"/>
              </a:ext>
            </a:extLst>
          </p:cNvPr>
          <p:cNvCxnSpPr>
            <a:cxnSpLocks/>
          </p:cNvCxnSpPr>
          <p:nvPr/>
        </p:nvCxnSpPr>
        <p:spPr>
          <a:xfrm>
            <a:off x="9856583" y="2541387"/>
            <a:ext cx="252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86" name="Group 285">
            <a:extLst>
              <a:ext uri="{FF2B5EF4-FFF2-40B4-BE49-F238E27FC236}">
                <a16:creationId xmlns:a16="http://schemas.microsoft.com/office/drawing/2014/main" id="{979C7505-EA9B-F769-934D-447FBA9088DD}"/>
              </a:ext>
            </a:extLst>
          </p:cNvPr>
          <p:cNvGrpSpPr/>
          <p:nvPr/>
        </p:nvGrpSpPr>
        <p:grpSpPr>
          <a:xfrm>
            <a:off x="9823908" y="2229546"/>
            <a:ext cx="317350" cy="224226"/>
            <a:chOff x="1590595" y="6088787"/>
            <a:chExt cx="317350" cy="224226"/>
          </a:xfrm>
        </p:grpSpPr>
        <p:sp>
          <p:nvSpPr>
            <p:cNvPr id="287" name="Oval 286">
              <a:extLst>
                <a:ext uri="{FF2B5EF4-FFF2-40B4-BE49-F238E27FC236}">
                  <a16:creationId xmlns:a16="http://schemas.microsoft.com/office/drawing/2014/main" id="{93B6A2AE-97F3-EE8E-F7AE-A0E74BA37249}"/>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88" name="TextBox 287">
              <a:extLst>
                <a:ext uri="{FF2B5EF4-FFF2-40B4-BE49-F238E27FC236}">
                  <a16:creationId xmlns:a16="http://schemas.microsoft.com/office/drawing/2014/main" id="{869B9DD1-909E-A637-08C6-E4842567EDE4}"/>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8</a:t>
              </a:r>
            </a:p>
          </p:txBody>
        </p:sp>
      </p:grpSp>
      <p:grpSp>
        <p:nvGrpSpPr>
          <p:cNvPr id="289" name="Group 288">
            <a:extLst>
              <a:ext uri="{FF2B5EF4-FFF2-40B4-BE49-F238E27FC236}">
                <a16:creationId xmlns:a16="http://schemas.microsoft.com/office/drawing/2014/main" id="{9FDB3DB6-1C0D-2F82-45FE-C6E7BAF60BFB}"/>
              </a:ext>
            </a:extLst>
          </p:cNvPr>
          <p:cNvGrpSpPr/>
          <p:nvPr/>
        </p:nvGrpSpPr>
        <p:grpSpPr>
          <a:xfrm>
            <a:off x="10797004" y="2235830"/>
            <a:ext cx="317350" cy="224226"/>
            <a:chOff x="1590595" y="6088787"/>
            <a:chExt cx="317350" cy="224226"/>
          </a:xfrm>
        </p:grpSpPr>
        <p:sp>
          <p:nvSpPr>
            <p:cNvPr id="290" name="Oval 289">
              <a:extLst>
                <a:ext uri="{FF2B5EF4-FFF2-40B4-BE49-F238E27FC236}">
                  <a16:creationId xmlns:a16="http://schemas.microsoft.com/office/drawing/2014/main" id="{7DF2DE62-079E-A8C4-0C33-09D87F11AD04}"/>
                </a:ext>
              </a:extLst>
            </p:cNvPr>
            <p:cNvSpPr/>
            <p:nvPr/>
          </p:nvSpPr>
          <p:spPr>
            <a:xfrm>
              <a:off x="1629654" y="6088787"/>
              <a:ext cx="216000" cy="216000"/>
            </a:xfrm>
            <a:prstGeom prst="ellipse">
              <a:avLst/>
            </a:prstGeom>
            <a:solidFill>
              <a:schemeClr val="bg1"/>
            </a:solidFill>
            <a:ln w="12700" cap="flat" cmpd="sng" algn="ctr">
              <a:solidFill>
                <a:srgbClr val="BFBFB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D3D3D3"/>
                </a:solidFill>
                <a:effectLst/>
                <a:uLnTx/>
                <a:uFillTx/>
                <a:latin typeface="Arial" panose="020B0604020202020204" pitchFamily="34" charset="0"/>
                <a:ea typeface="+mn-ea"/>
                <a:cs typeface="Arial" panose="020B0604020202020204" pitchFamily="34" charset="0"/>
              </a:endParaRPr>
            </a:p>
          </p:txBody>
        </p:sp>
        <p:sp>
          <p:nvSpPr>
            <p:cNvPr id="291" name="TextBox 290">
              <a:extLst>
                <a:ext uri="{FF2B5EF4-FFF2-40B4-BE49-F238E27FC236}">
                  <a16:creationId xmlns:a16="http://schemas.microsoft.com/office/drawing/2014/main" id="{A9213693-FD88-B459-1B40-4ACEA8FFE6B8}"/>
                </a:ext>
              </a:extLst>
            </p:cNvPr>
            <p:cNvSpPr txBox="1"/>
            <p:nvPr/>
          </p:nvSpPr>
          <p:spPr>
            <a:xfrm>
              <a:off x="1590595" y="6097569"/>
              <a:ext cx="317350"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pt-PT" sz="800" b="0" i="0" u="none" strike="noStrike" kern="0" cap="none" spc="0" normalizeH="0" baseline="0" noProof="0">
                  <a:ln>
                    <a:noFill/>
                  </a:ln>
                  <a:solidFill>
                    <a:srgbClr val="D3D3D3"/>
                  </a:solidFill>
                  <a:effectLst/>
                  <a:uLnTx/>
                  <a:uFillTx/>
                  <a:latin typeface="Arial" panose="020B0604020202020204" pitchFamily="34" charset="0"/>
                  <a:cs typeface="Arial" panose="020B0604020202020204" pitchFamily="34" charset="0"/>
                </a:rPr>
                <a:t> 9</a:t>
              </a:r>
            </a:p>
          </p:txBody>
        </p:sp>
      </p:grpSp>
      <p:sp>
        <p:nvSpPr>
          <p:cNvPr id="292" name="TextBox 40">
            <a:extLst>
              <a:ext uri="{FF2B5EF4-FFF2-40B4-BE49-F238E27FC236}">
                <a16:creationId xmlns:a16="http://schemas.microsoft.com/office/drawing/2014/main" id="{888F662A-48AC-4104-0FA5-EB8B9A148B15}"/>
              </a:ext>
            </a:extLst>
          </p:cNvPr>
          <p:cNvSpPr txBox="1"/>
          <p:nvPr/>
        </p:nvSpPr>
        <p:spPr>
          <a:xfrm>
            <a:off x="901382" y="2768143"/>
            <a:ext cx="936176" cy="276999"/>
          </a:xfrm>
          <a:prstGeom prst="rect">
            <a:avLst/>
          </a:prstGeom>
          <a:noFill/>
        </p:spPr>
        <p:txBody>
          <a:bodyPr wrap="square" lIns="0" tIns="0" rIns="0" bIns="0" rtlCol="0">
            <a:spAutoFit/>
          </a:bodyPr>
          <a:lstStyle/>
          <a:p>
            <a:pPr marL="0" marR="0" lvl="0" indent="0" algn="ctr" defTabSz="1219170" rtl="0" eaLnBrk="1" fontAlgn="auto" latinLnBrk="0" hangingPunct="1">
              <a:spcAft>
                <a:spcPts val="0"/>
              </a:spcAft>
              <a:buClrTx/>
              <a:buSzPct val="100000"/>
              <a:buFontTx/>
              <a:buNone/>
              <a:tabLst/>
              <a:defRPr/>
            </a:pPr>
            <a:r>
              <a:rPr kumimoji="0" lang="en-US" sz="900" b="1" i="0" u="none" strike="noStrike" kern="1200" cap="none" spc="0" normalizeH="0" baseline="0">
                <a:ln>
                  <a:noFill/>
                </a:ln>
                <a:solidFill>
                  <a:srgbClr val="53565A"/>
                </a:solidFill>
                <a:effectLst/>
                <a:uLnTx/>
                <a:uFillTx/>
                <a:latin typeface="Open Sans Light"/>
                <a:ea typeface="+mn-ea"/>
                <a:cs typeface="Calibri" panose="020F0502020204030204" pitchFamily="34" charset="0"/>
              </a:rPr>
              <a:t>USER</a:t>
            </a:r>
          </a:p>
          <a:p>
            <a:pPr marL="0" marR="0" lvl="0" indent="0" algn="ctr" defTabSz="1219170" rtl="0" eaLnBrk="1" fontAlgn="auto" latinLnBrk="0" hangingPunct="1">
              <a:spcAft>
                <a:spcPts val="0"/>
              </a:spcAft>
              <a:buClrTx/>
              <a:buSzPct val="100000"/>
              <a:buFontTx/>
              <a:buNone/>
              <a:tabLst/>
              <a:defRPr/>
            </a:pPr>
            <a:r>
              <a:rPr kumimoji="0" lang="en-US" sz="900" b="1" i="0" u="none" strike="noStrike" kern="1200" cap="none" spc="0" normalizeH="0" baseline="0">
                <a:ln>
                  <a:noFill/>
                </a:ln>
                <a:solidFill>
                  <a:srgbClr val="53565A"/>
                </a:solidFill>
                <a:effectLst/>
                <a:uLnTx/>
                <a:uFillTx/>
                <a:latin typeface="Open Sans Light"/>
                <a:ea typeface="+mn-ea"/>
                <a:cs typeface="Calibri" panose="020F0502020204030204" pitchFamily="34" charset="0"/>
              </a:rPr>
              <a:t>PROMPT</a:t>
            </a:r>
          </a:p>
        </p:txBody>
      </p:sp>
      <p:grpSp>
        <p:nvGrpSpPr>
          <p:cNvPr id="293" name="Graphic 4">
            <a:extLst>
              <a:ext uri="{FF2B5EF4-FFF2-40B4-BE49-F238E27FC236}">
                <a16:creationId xmlns:a16="http://schemas.microsoft.com/office/drawing/2014/main" id="{B2CB4598-7437-7D86-07FE-562C7E99512D}"/>
              </a:ext>
            </a:extLst>
          </p:cNvPr>
          <p:cNvGrpSpPr/>
          <p:nvPr/>
        </p:nvGrpSpPr>
        <p:grpSpPr>
          <a:xfrm>
            <a:off x="1091612" y="2168758"/>
            <a:ext cx="576000" cy="576000"/>
            <a:chOff x="8239823" y="3339623"/>
            <a:chExt cx="361674" cy="361971"/>
          </a:xfrm>
          <a:solidFill>
            <a:srgbClr val="86BC25"/>
          </a:solidFill>
        </p:grpSpPr>
        <p:sp>
          <p:nvSpPr>
            <p:cNvPr id="294" name="Graphic 4">
              <a:extLst>
                <a:ext uri="{FF2B5EF4-FFF2-40B4-BE49-F238E27FC236}">
                  <a16:creationId xmlns:a16="http://schemas.microsoft.com/office/drawing/2014/main" id="{6B87EDF5-DB57-624F-FAA8-0BA23850FC8E}"/>
                </a:ext>
              </a:extLst>
            </p:cNvPr>
            <p:cNvSpPr/>
            <p:nvPr/>
          </p:nvSpPr>
          <p:spPr>
            <a:xfrm>
              <a:off x="8323531" y="3442405"/>
              <a:ext cx="193615" cy="114911"/>
            </a:xfrm>
            <a:custGeom>
              <a:avLst/>
              <a:gdLst>
                <a:gd name="connsiteX0" fmla="*/ 53037 w 193615"/>
                <a:gd name="connsiteY0" fmla="*/ 114912 h 114911"/>
                <a:gd name="connsiteX1" fmla="*/ 97128 w 193615"/>
                <a:gd name="connsiteY1" fmla="*/ 83630 h 114911"/>
                <a:gd name="connsiteX2" fmla="*/ 141217 w 193615"/>
                <a:gd name="connsiteY2" fmla="*/ 114912 h 114911"/>
                <a:gd name="connsiteX3" fmla="*/ 193615 w 193615"/>
                <a:gd name="connsiteY3" fmla="*/ 114912 h 114911"/>
                <a:gd name="connsiteX4" fmla="*/ 193615 w 193615"/>
                <a:gd name="connsiteY4" fmla="*/ 112997 h 114911"/>
                <a:gd name="connsiteX5" fmla="*/ 193615 w 193615"/>
                <a:gd name="connsiteY5" fmla="*/ 30005 h 114911"/>
                <a:gd name="connsiteX6" fmla="*/ 163582 w 193615"/>
                <a:gd name="connsiteY6" fmla="*/ 0 h 114911"/>
                <a:gd name="connsiteX7" fmla="*/ 30033 w 193615"/>
                <a:gd name="connsiteY7" fmla="*/ 0 h 114911"/>
                <a:gd name="connsiteX8" fmla="*/ 0 w 193615"/>
                <a:gd name="connsiteY8" fmla="*/ 30005 h 114911"/>
                <a:gd name="connsiteX9" fmla="*/ 0 w 193615"/>
                <a:gd name="connsiteY9" fmla="*/ 112997 h 114911"/>
                <a:gd name="connsiteX10" fmla="*/ 0 w 193615"/>
                <a:gd name="connsiteY10" fmla="*/ 114912 h 114911"/>
                <a:gd name="connsiteX11" fmla="*/ 53037 w 193615"/>
                <a:gd name="connsiteY11" fmla="*/ 114912 h 114911"/>
                <a:gd name="connsiteX12" fmla="*/ 174446 w 193615"/>
                <a:gd name="connsiteY12" fmla="*/ 10853 h 114911"/>
                <a:gd name="connsiteX13" fmla="*/ 182752 w 193615"/>
                <a:gd name="connsiteY13" fmla="*/ 19152 h 114911"/>
                <a:gd name="connsiteX14" fmla="*/ 174446 w 193615"/>
                <a:gd name="connsiteY14" fmla="*/ 27451 h 114911"/>
                <a:gd name="connsiteX15" fmla="*/ 166138 w 193615"/>
                <a:gd name="connsiteY15" fmla="*/ 19152 h 114911"/>
                <a:gd name="connsiteX16" fmla="*/ 174446 w 193615"/>
                <a:gd name="connsiteY16" fmla="*/ 10853 h 114911"/>
                <a:gd name="connsiteX17" fmla="*/ 174446 w 193615"/>
                <a:gd name="connsiteY17" fmla="*/ 10853 h 114911"/>
                <a:gd name="connsiteX18" fmla="*/ 97766 w 193615"/>
                <a:gd name="connsiteY18" fmla="*/ 11491 h 114911"/>
                <a:gd name="connsiteX19" fmla="*/ 130355 w 193615"/>
                <a:gd name="connsiteY19" fmla="*/ 44050 h 114911"/>
                <a:gd name="connsiteX20" fmla="*/ 97766 w 193615"/>
                <a:gd name="connsiteY20" fmla="*/ 76608 h 114911"/>
                <a:gd name="connsiteX21" fmla="*/ 65178 w 193615"/>
                <a:gd name="connsiteY21" fmla="*/ 44050 h 114911"/>
                <a:gd name="connsiteX22" fmla="*/ 65178 w 193615"/>
                <a:gd name="connsiteY22" fmla="*/ 44050 h 114911"/>
                <a:gd name="connsiteX23" fmla="*/ 97766 w 193615"/>
                <a:gd name="connsiteY23" fmla="*/ 11491 h 114911"/>
                <a:gd name="connsiteX24" fmla="*/ 97766 w 193615"/>
                <a:gd name="connsiteY24" fmla="*/ 11491 h 11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3615" h="114911">
                  <a:moveTo>
                    <a:pt x="53037" y="114912"/>
                  </a:moveTo>
                  <a:cubicBezTo>
                    <a:pt x="54953" y="98952"/>
                    <a:pt x="67094" y="83630"/>
                    <a:pt x="97128" y="83630"/>
                  </a:cubicBezTo>
                  <a:cubicBezTo>
                    <a:pt x="127160" y="83630"/>
                    <a:pt x="139301" y="98952"/>
                    <a:pt x="141217" y="114912"/>
                  </a:cubicBezTo>
                  <a:lnTo>
                    <a:pt x="193615" y="114912"/>
                  </a:lnTo>
                  <a:cubicBezTo>
                    <a:pt x="193615" y="114273"/>
                    <a:pt x="193615" y="113635"/>
                    <a:pt x="193615" y="112997"/>
                  </a:cubicBezTo>
                  <a:lnTo>
                    <a:pt x="193615" y="30005"/>
                  </a:lnTo>
                  <a:cubicBezTo>
                    <a:pt x="193615" y="13407"/>
                    <a:pt x="180197" y="0"/>
                    <a:pt x="163582" y="0"/>
                  </a:cubicBezTo>
                  <a:lnTo>
                    <a:pt x="30033" y="0"/>
                  </a:lnTo>
                  <a:cubicBezTo>
                    <a:pt x="13419" y="0"/>
                    <a:pt x="0" y="13407"/>
                    <a:pt x="0" y="30005"/>
                  </a:cubicBezTo>
                  <a:lnTo>
                    <a:pt x="0" y="112997"/>
                  </a:lnTo>
                  <a:cubicBezTo>
                    <a:pt x="0" y="113635"/>
                    <a:pt x="0" y="114273"/>
                    <a:pt x="0" y="114912"/>
                  </a:cubicBezTo>
                  <a:lnTo>
                    <a:pt x="53037" y="114912"/>
                  </a:lnTo>
                  <a:close/>
                  <a:moveTo>
                    <a:pt x="174446" y="10853"/>
                  </a:moveTo>
                  <a:cubicBezTo>
                    <a:pt x="178918" y="10853"/>
                    <a:pt x="182752" y="14683"/>
                    <a:pt x="182752" y="19152"/>
                  </a:cubicBezTo>
                  <a:cubicBezTo>
                    <a:pt x="182752" y="23621"/>
                    <a:pt x="178918" y="27451"/>
                    <a:pt x="174446" y="27451"/>
                  </a:cubicBezTo>
                  <a:cubicBezTo>
                    <a:pt x="169972" y="27451"/>
                    <a:pt x="166138" y="23621"/>
                    <a:pt x="166138" y="19152"/>
                  </a:cubicBezTo>
                  <a:cubicBezTo>
                    <a:pt x="166138" y="14683"/>
                    <a:pt x="169972" y="10853"/>
                    <a:pt x="174446" y="10853"/>
                  </a:cubicBezTo>
                  <a:lnTo>
                    <a:pt x="174446" y="10853"/>
                  </a:lnTo>
                  <a:close/>
                  <a:moveTo>
                    <a:pt x="97766" y="11491"/>
                  </a:moveTo>
                  <a:cubicBezTo>
                    <a:pt x="115658" y="11491"/>
                    <a:pt x="130355" y="26175"/>
                    <a:pt x="130355" y="44050"/>
                  </a:cubicBezTo>
                  <a:cubicBezTo>
                    <a:pt x="130355" y="61925"/>
                    <a:pt x="115658" y="76608"/>
                    <a:pt x="97766" y="76608"/>
                  </a:cubicBezTo>
                  <a:cubicBezTo>
                    <a:pt x="79874" y="76608"/>
                    <a:pt x="65178" y="61925"/>
                    <a:pt x="65178" y="44050"/>
                  </a:cubicBezTo>
                  <a:lnTo>
                    <a:pt x="65178" y="44050"/>
                  </a:lnTo>
                  <a:cubicBezTo>
                    <a:pt x="64538" y="26813"/>
                    <a:pt x="79235" y="12130"/>
                    <a:pt x="97766" y="11491"/>
                  </a:cubicBezTo>
                  <a:lnTo>
                    <a:pt x="97766" y="11491"/>
                  </a:lnTo>
                  <a:close/>
                </a:path>
              </a:pathLst>
            </a:custGeom>
            <a:grpFill/>
            <a:ln w="6390" cap="flat">
              <a:noFill/>
              <a:prstDash val="solid"/>
              <a:miter/>
            </a:ln>
          </p:spPr>
          <p:txBody>
            <a:bodyPr rtlCol="0" anchor="ctr"/>
            <a:lstStyle/>
            <a:p>
              <a:endParaRPr lang="en-US"/>
            </a:p>
          </p:txBody>
        </p:sp>
        <p:sp>
          <p:nvSpPr>
            <p:cNvPr id="295" name="Graphic 4">
              <a:extLst>
                <a:ext uri="{FF2B5EF4-FFF2-40B4-BE49-F238E27FC236}">
                  <a16:creationId xmlns:a16="http://schemas.microsoft.com/office/drawing/2014/main" id="{6770E7E8-C644-C814-30CB-2960B667A434}"/>
                </a:ext>
              </a:extLst>
            </p:cNvPr>
            <p:cNvSpPr/>
            <p:nvPr/>
          </p:nvSpPr>
          <p:spPr>
            <a:xfrm>
              <a:off x="8410435" y="3598175"/>
              <a:ext cx="20447" cy="13406"/>
            </a:xfrm>
            <a:custGeom>
              <a:avLst/>
              <a:gdLst>
                <a:gd name="connsiteX0" fmla="*/ 0 w 20447"/>
                <a:gd name="connsiteY0" fmla="*/ 0 h 13406"/>
                <a:gd name="connsiteX1" fmla="*/ 20447 w 20447"/>
                <a:gd name="connsiteY1" fmla="*/ 0 h 13406"/>
                <a:gd name="connsiteX2" fmla="*/ 20447 w 20447"/>
                <a:gd name="connsiteY2" fmla="*/ 13406 h 13406"/>
                <a:gd name="connsiteX3" fmla="*/ 0 w 20447"/>
                <a:gd name="connsiteY3" fmla="*/ 13406 h 13406"/>
              </a:gdLst>
              <a:ahLst/>
              <a:cxnLst>
                <a:cxn ang="0">
                  <a:pos x="connsiteX0" y="connsiteY0"/>
                </a:cxn>
                <a:cxn ang="0">
                  <a:pos x="connsiteX1" y="connsiteY1"/>
                </a:cxn>
                <a:cxn ang="0">
                  <a:pos x="connsiteX2" y="connsiteY2"/>
                </a:cxn>
                <a:cxn ang="0">
                  <a:pos x="connsiteX3" y="connsiteY3"/>
                </a:cxn>
              </a:cxnLst>
              <a:rect l="l" t="t" r="r" b="b"/>
              <a:pathLst>
                <a:path w="20447" h="13406">
                  <a:moveTo>
                    <a:pt x="0" y="0"/>
                  </a:moveTo>
                  <a:lnTo>
                    <a:pt x="20447" y="0"/>
                  </a:lnTo>
                  <a:lnTo>
                    <a:pt x="20447" y="13406"/>
                  </a:lnTo>
                  <a:lnTo>
                    <a:pt x="0" y="13406"/>
                  </a:lnTo>
                  <a:close/>
                </a:path>
              </a:pathLst>
            </a:custGeom>
            <a:grpFill/>
            <a:ln w="6390" cap="flat">
              <a:noFill/>
              <a:prstDash val="solid"/>
              <a:miter/>
            </a:ln>
          </p:spPr>
          <p:txBody>
            <a:bodyPr rtlCol="0" anchor="ctr"/>
            <a:lstStyle/>
            <a:p>
              <a:endParaRPr lang="en-US"/>
            </a:p>
          </p:txBody>
        </p:sp>
        <p:sp>
          <p:nvSpPr>
            <p:cNvPr id="296" name="Graphic 4">
              <a:extLst>
                <a:ext uri="{FF2B5EF4-FFF2-40B4-BE49-F238E27FC236}">
                  <a16:creationId xmlns:a16="http://schemas.microsoft.com/office/drawing/2014/main" id="{7F054EA2-2569-31A2-C29F-FCD47BBF2E52}"/>
                </a:ext>
              </a:extLst>
            </p:cNvPr>
            <p:cNvSpPr/>
            <p:nvPr/>
          </p:nvSpPr>
          <p:spPr>
            <a:xfrm>
              <a:off x="8400850" y="3467303"/>
              <a:ext cx="39618" cy="39580"/>
            </a:xfrm>
            <a:custGeom>
              <a:avLst/>
              <a:gdLst>
                <a:gd name="connsiteX0" fmla="*/ 19809 w 39618"/>
                <a:gd name="connsiteY0" fmla="*/ 39581 h 39580"/>
                <a:gd name="connsiteX1" fmla="*/ 39618 w 39618"/>
                <a:gd name="connsiteY1" fmla="*/ 19790 h 39580"/>
                <a:gd name="connsiteX2" fmla="*/ 19809 w 39618"/>
                <a:gd name="connsiteY2" fmla="*/ 0 h 39580"/>
                <a:gd name="connsiteX3" fmla="*/ 0 w 39618"/>
                <a:gd name="connsiteY3" fmla="*/ 19790 h 39580"/>
                <a:gd name="connsiteX4" fmla="*/ 0 w 39618"/>
                <a:gd name="connsiteY4" fmla="*/ 19790 h 39580"/>
                <a:gd name="connsiteX5" fmla="*/ 19809 w 39618"/>
                <a:gd name="connsiteY5" fmla="*/ 39581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18" h="39580">
                  <a:moveTo>
                    <a:pt x="19809" y="39581"/>
                  </a:moveTo>
                  <a:cubicBezTo>
                    <a:pt x="30672" y="39581"/>
                    <a:pt x="39618" y="30643"/>
                    <a:pt x="39618" y="19790"/>
                  </a:cubicBezTo>
                  <a:cubicBezTo>
                    <a:pt x="39618" y="8938"/>
                    <a:pt x="30672" y="0"/>
                    <a:pt x="19809" y="0"/>
                  </a:cubicBezTo>
                  <a:cubicBezTo>
                    <a:pt x="8946" y="0"/>
                    <a:pt x="0" y="8938"/>
                    <a:pt x="0" y="19790"/>
                  </a:cubicBezTo>
                  <a:lnTo>
                    <a:pt x="0" y="19790"/>
                  </a:lnTo>
                  <a:cubicBezTo>
                    <a:pt x="0" y="30643"/>
                    <a:pt x="8946" y="39581"/>
                    <a:pt x="19809" y="39581"/>
                  </a:cubicBezTo>
                  <a:close/>
                </a:path>
              </a:pathLst>
            </a:custGeom>
            <a:grpFill/>
            <a:ln w="6390" cap="flat">
              <a:noFill/>
              <a:prstDash val="solid"/>
              <a:miter/>
            </a:ln>
          </p:spPr>
          <p:txBody>
            <a:bodyPr rtlCol="0" anchor="ctr"/>
            <a:lstStyle/>
            <a:p>
              <a:endParaRPr lang="en-US"/>
            </a:p>
          </p:txBody>
        </p:sp>
        <p:sp>
          <p:nvSpPr>
            <p:cNvPr id="297" name="Graphic 4">
              <a:extLst>
                <a:ext uri="{FF2B5EF4-FFF2-40B4-BE49-F238E27FC236}">
                  <a16:creationId xmlns:a16="http://schemas.microsoft.com/office/drawing/2014/main" id="{F3273B60-65AB-D8C9-6297-D76F7C2F6378}"/>
                </a:ext>
              </a:extLst>
            </p:cNvPr>
            <p:cNvSpPr/>
            <p:nvPr/>
          </p:nvSpPr>
          <p:spPr>
            <a:xfrm>
              <a:off x="8239823" y="3339623"/>
              <a:ext cx="361674" cy="361971"/>
            </a:xfrm>
            <a:custGeom>
              <a:avLst/>
              <a:gdLst>
                <a:gd name="connsiteX0" fmla="*/ 180836 w 361674"/>
                <a:gd name="connsiteY0" fmla="*/ 0 h 361971"/>
                <a:gd name="connsiteX1" fmla="*/ 0 w 361674"/>
                <a:gd name="connsiteY1" fmla="*/ 180667 h 361971"/>
                <a:gd name="connsiteX2" fmla="*/ 180836 w 361674"/>
                <a:gd name="connsiteY2" fmla="*/ 361972 h 361971"/>
                <a:gd name="connsiteX3" fmla="*/ 361670 w 361674"/>
                <a:gd name="connsiteY3" fmla="*/ 181305 h 361971"/>
                <a:gd name="connsiteX4" fmla="*/ 361670 w 361674"/>
                <a:gd name="connsiteY4" fmla="*/ 181305 h 361971"/>
                <a:gd name="connsiteX5" fmla="*/ 180836 w 361674"/>
                <a:gd name="connsiteY5" fmla="*/ 0 h 361971"/>
                <a:gd name="connsiteX6" fmla="*/ 180836 w 361674"/>
                <a:gd name="connsiteY6" fmla="*/ 0 h 361971"/>
                <a:gd name="connsiteX7" fmla="*/ 290742 w 361674"/>
                <a:gd name="connsiteY7" fmla="*/ 215779 h 361971"/>
                <a:gd name="connsiteX8" fmla="*/ 290103 w 361674"/>
                <a:gd name="connsiteY8" fmla="*/ 222163 h 361971"/>
                <a:gd name="connsiteX9" fmla="*/ 290742 w 361674"/>
                <a:gd name="connsiteY9" fmla="*/ 224078 h 361971"/>
                <a:gd name="connsiteX10" fmla="*/ 288825 w 361674"/>
                <a:gd name="connsiteY10" fmla="*/ 228546 h 361971"/>
                <a:gd name="connsiteX11" fmla="*/ 247930 w 361674"/>
                <a:gd name="connsiteY11" fmla="*/ 258551 h 361971"/>
                <a:gd name="connsiteX12" fmla="*/ 204478 w 361674"/>
                <a:gd name="connsiteY12" fmla="*/ 258551 h 361971"/>
                <a:gd name="connsiteX13" fmla="*/ 204478 w 361674"/>
                <a:gd name="connsiteY13" fmla="*/ 272596 h 361971"/>
                <a:gd name="connsiteX14" fmla="*/ 215341 w 361674"/>
                <a:gd name="connsiteY14" fmla="*/ 272596 h 361971"/>
                <a:gd name="connsiteX15" fmla="*/ 221731 w 361674"/>
                <a:gd name="connsiteY15" fmla="*/ 278980 h 361971"/>
                <a:gd name="connsiteX16" fmla="*/ 215341 w 361674"/>
                <a:gd name="connsiteY16" fmla="*/ 285364 h 361971"/>
                <a:gd name="connsiteX17" fmla="*/ 146969 w 361674"/>
                <a:gd name="connsiteY17" fmla="*/ 285364 h 361971"/>
                <a:gd name="connsiteX18" fmla="*/ 140579 w 361674"/>
                <a:gd name="connsiteY18" fmla="*/ 278980 h 361971"/>
                <a:gd name="connsiteX19" fmla="*/ 146969 w 361674"/>
                <a:gd name="connsiteY19" fmla="*/ 272596 h 361971"/>
                <a:gd name="connsiteX20" fmla="*/ 157831 w 361674"/>
                <a:gd name="connsiteY20" fmla="*/ 272596 h 361971"/>
                <a:gd name="connsiteX21" fmla="*/ 157831 w 361674"/>
                <a:gd name="connsiteY21" fmla="*/ 258551 h 361971"/>
                <a:gd name="connsiteX22" fmla="*/ 114380 w 361674"/>
                <a:gd name="connsiteY22" fmla="*/ 258551 h 361971"/>
                <a:gd name="connsiteX23" fmla="*/ 73484 w 361674"/>
                <a:gd name="connsiteY23" fmla="*/ 228546 h 361971"/>
                <a:gd name="connsiteX24" fmla="*/ 71567 w 361674"/>
                <a:gd name="connsiteY24" fmla="*/ 224078 h 361971"/>
                <a:gd name="connsiteX25" fmla="*/ 72207 w 361674"/>
                <a:gd name="connsiteY25" fmla="*/ 222163 h 361971"/>
                <a:gd name="connsiteX26" fmla="*/ 71567 w 361674"/>
                <a:gd name="connsiteY26" fmla="*/ 215779 h 361971"/>
                <a:gd name="connsiteX27" fmla="*/ 71567 w 361674"/>
                <a:gd name="connsiteY27" fmla="*/ 132787 h 361971"/>
                <a:gd name="connsiteX28" fmla="*/ 114380 w 361674"/>
                <a:gd name="connsiteY28" fmla="*/ 90014 h 361971"/>
                <a:gd name="connsiteX29" fmla="*/ 247930 w 361674"/>
                <a:gd name="connsiteY29" fmla="*/ 90014 h 361971"/>
                <a:gd name="connsiteX30" fmla="*/ 290742 w 361674"/>
                <a:gd name="connsiteY30" fmla="*/ 132787 h 361971"/>
                <a:gd name="connsiteX31" fmla="*/ 290742 w 361674"/>
                <a:gd name="connsiteY31"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4" h="361971">
                  <a:moveTo>
                    <a:pt x="180836" y="0"/>
                  </a:moveTo>
                  <a:cubicBezTo>
                    <a:pt x="80513" y="0"/>
                    <a:pt x="0" y="81077"/>
                    <a:pt x="0" y="180667"/>
                  </a:cubicBezTo>
                  <a:cubicBezTo>
                    <a:pt x="0" y="280895"/>
                    <a:pt x="81152" y="361972"/>
                    <a:pt x="180836" y="361972"/>
                  </a:cubicBezTo>
                  <a:cubicBezTo>
                    <a:pt x="281157" y="361972"/>
                    <a:pt x="361670" y="280895"/>
                    <a:pt x="361670" y="181305"/>
                  </a:cubicBezTo>
                  <a:lnTo>
                    <a:pt x="361670" y="181305"/>
                  </a:lnTo>
                  <a:cubicBezTo>
                    <a:pt x="362309" y="81077"/>
                    <a:pt x="281157" y="0"/>
                    <a:pt x="180836" y="0"/>
                  </a:cubicBezTo>
                  <a:cubicBezTo>
                    <a:pt x="180836" y="0"/>
                    <a:pt x="180836" y="0"/>
                    <a:pt x="180836" y="0"/>
                  </a:cubicBezTo>
                  <a:close/>
                  <a:moveTo>
                    <a:pt x="290742" y="215779"/>
                  </a:moveTo>
                  <a:cubicBezTo>
                    <a:pt x="290742" y="217694"/>
                    <a:pt x="290742" y="220247"/>
                    <a:pt x="290103" y="222163"/>
                  </a:cubicBezTo>
                  <a:cubicBezTo>
                    <a:pt x="290103" y="222801"/>
                    <a:pt x="290742" y="223439"/>
                    <a:pt x="290742" y="224078"/>
                  </a:cubicBezTo>
                  <a:cubicBezTo>
                    <a:pt x="290742" y="225993"/>
                    <a:pt x="290103" y="227270"/>
                    <a:pt x="288825" y="228546"/>
                  </a:cubicBezTo>
                  <a:cubicBezTo>
                    <a:pt x="283075" y="246422"/>
                    <a:pt x="266460" y="258551"/>
                    <a:pt x="247930" y="258551"/>
                  </a:cubicBezTo>
                  <a:lnTo>
                    <a:pt x="204478" y="258551"/>
                  </a:lnTo>
                  <a:lnTo>
                    <a:pt x="204478" y="272596"/>
                  </a:lnTo>
                  <a:lnTo>
                    <a:pt x="215341" y="272596"/>
                  </a:lnTo>
                  <a:cubicBezTo>
                    <a:pt x="219175" y="272596"/>
                    <a:pt x="221731" y="275149"/>
                    <a:pt x="221731" y="278980"/>
                  </a:cubicBezTo>
                  <a:cubicBezTo>
                    <a:pt x="221731" y="282810"/>
                    <a:pt x="219175" y="285364"/>
                    <a:pt x="215341" y="285364"/>
                  </a:cubicBezTo>
                  <a:lnTo>
                    <a:pt x="146969" y="285364"/>
                  </a:lnTo>
                  <a:cubicBezTo>
                    <a:pt x="143135" y="285364"/>
                    <a:pt x="140579" y="282810"/>
                    <a:pt x="140579" y="278980"/>
                  </a:cubicBezTo>
                  <a:cubicBezTo>
                    <a:pt x="140579" y="275149"/>
                    <a:pt x="143135" y="272596"/>
                    <a:pt x="146969" y="272596"/>
                  </a:cubicBezTo>
                  <a:lnTo>
                    <a:pt x="157831" y="272596"/>
                  </a:lnTo>
                  <a:lnTo>
                    <a:pt x="157831" y="258551"/>
                  </a:lnTo>
                  <a:lnTo>
                    <a:pt x="114380" y="258551"/>
                  </a:lnTo>
                  <a:cubicBezTo>
                    <a:pt x="95849" y="258551"/>
                    <a:pt x="79235" y="246422"/>
                    <a:pt x="73484" y="228546"/>
                  </a:cubicBezTo>
                  <a:cubicBezTo>
                    <a:pt x="72207" y="227270"/>
                    <a:pt x="71567" y="225993"/>
                    <a:pt x="71567" y="224078"/>
                  </a:cubicBezTo>
                  <a:cubicBezTo>
                    <a:pt x="71567" y="223439"/>
                    <a:pt x="71567" y="222801"/>
                    <a:pt x="72207" y="222163"/>
                  </a:cubicBezTo>
                  <a:cubicBezTo>
                    <a:pt x="71567" y="220247"/>
                    <a:pt x="71567" y="217694"/>
                    <a:pt x="71567" y="215779"/>
                  </a:cubicBezTo>
                  <a:lnTo>
                    <a:pt x="71567" y="132787"/>
                  </a:lnTo>
                  <a:cubicBezTo>
                    <a:pt x="71567" y="109166"/>
                    <a:pt x="90737" y="90014"/>
                    <a:pt x="114380" y="90014"/>
                  </a:cubicBezTo>
                  <a:lnTo>
                    <a:pt x="247930" y="90014"/>
                  </a:lnTo>
                  <a:cubicBezTo>
                    <a:pt x="271572" y="90014"/>
                    <a:pt x="290742" y="109166"/>
                    <a:pt x="290742" y="132787"/>
                  </a:cubicBezTo>
                  <a:lnTo>
                    <a:pt x="290742" y="215779"/>
                  </a:lnTo>
                  <a:close/>
                </a:path>
              </a:pathLst>
            </a:custGeom>
            <a:grpFill/>
            <a:ln w="6390" cap="flat">
              <a:noFill/>
              <a:prstDash val="solid"/>
              <a:miter/>
            </a:ln>
          </p:spPr>
          <p:txBody>
            <a:bodyPr rtlCol="0" anchor="ctr"/>
            <a:lstStyle/>
            <a:p>
              <a:endParaRPr lang="en-US"/>
            </a:p>
          </p:txBody>
        </p:sp>
        <p:sp>
          <p:nvSpPr>
            <p:cNvPr id="298" name="Graphic 4">
              <a:extLst>
                <a:ext uri="{FF2B5EF4-FFF2-40B4-BE49-F238E27FC236}">
                  <a16:creationId xmlns:a16="http://schemas.microsoft.com/office/drawing/2014/main" id="{65DDB040-6C53-1EA8-9431-5919025DDD9E}"/>
                </a:ext>
              </a:extLst>
            </p:cNvPr>
            <p:cNvSpPr/>
            <p:nvPr/>
          </p:nvSpPr>
          <p:spPr>
            <a:xfrm>
              <a:off x="8328005" y="3570085"/>
              <a:ext cx="185947" cy="15321"/>
            </a:xfrm>
            <a:custGeom>
              <a:avLst/>
              <a:gdLst>
                <a:gd name="connsiteX0" fmla="*/ 0 w 185947"/>
                <a:gd name="connsiteY0" fmla="*/ 0 h 15321"/>
                <a:gd name="connsiteX1" fmla="*/ 26199 w 185947"/>
                <a:gd name="connsiteY1" fmla="*/ 15322 h 15321"/>
                <a:gd name="connsiteX2" fmla="*/ 159748 w 185947"/>
                <a:gd name="connsiteY2" fmla="*/ 15322 h 15321"/>
                <a:gd name="connsiteX3" fmla="*/ 185947 w 185947"/>
                <a:gd name="connsiteY3" fmla="*/ 0 h 15321"/>
                <a:gd name="connsiteX4" fmla="*/ 0 w 185947"/>
                <a:gd name="connsiteY4" fmla="*/ 0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47" h="15321">
                  <a:moveTo>
                    <a:pt x="0" y="0"/>
                  </a:moveTo>
                  <a:cubicBezTo>
                    <a:pt x="5111" y="9576"/>
                    <a:pt x="15335" y="15322"/>
                    <a:pt x="26199" y="15322"/>
                  </a:cubicBezTo>
                  <a:lnTo>
                    <a:pt x="159748" y="15322"/>
                  </a:lnTo>
                  <a:cubicBezTo>
                    <a:pt x="170611" y="15322"/>
                    <a:pt x="180196" y="9576"/>
                    <a:pt x="185947" y="0"/>
                  </a:cubicBezTo>
                  <a:lnTo>
                    <a:pt x="0" y="0"/>
                  </a:lnTo>
                  <a:close/>
                </a:path>
              </a:pathLst>
            </a:custGeom>
            <a:grpFill/>
            <a:ln w="6390" cap="flat">
              <a:noFill/>
              <a:prstDash val="solid"/>
              <a:miter/>
            </a:ln>
          </p:spPr>
          <p:txBody>
            <a:bodyPr rtlCol="0" anchor="ctr"/>
            <a:lstStyle/>
            <a:p>
              <a:endParaRPr lang="en-US"/>
            </a:p>
          </p:txBody>
        </p:sp>
        <p:sp>
          <p:nvSpPr>
            <p:cNvPr id="299" name="Graphic 4">
              <a:extLst>
                <a:ext uri="{FF2B5EF4-FFF2-40B4-BE49-F238E27FC236}">
                  <a16:creationId xmlns:a16="http://schemas.microsoft.com/office/drawing/2014/main" id="{1E7EC7DE-7795-7C9D-B45D-E6A123F40F71}"/>
                </a:ext>
              </a:extLst>
            </p:cNvPr>
            <p:cNvSpPr/>
            <p:nvPr/>
          </p:nvSpPr>
          <p:spPr>
            <a:xfrm>
              <a:off x="8389987" y="3538804"/>
              <a:ext cx="61982" cy="18513"/>
            </a:xfrm>
            <a:custGeom>
              <a:avLst/>
              <a:gdLst>
                <a:gd name="connsiteX0" fmla="*/ 0 w 61982"/>
                <a:gd name="connsiteY0" fmla="*/ 18513 h 18513"/>
                <a:gd name="connsiteX1" fmla="*/ 61982 w 61982"/>
                <a:gd name="connsiteY1" fmla="*/ 18513 h 18513"/>
                <a:gd name="connsiteX2" fmla="*/ 30672 w 61982"/>
                <a:gd name="connsiteY2" fmla="*/ 0 h 18513"/>
                <a:gd name="connsiteX3" fmla="*/ 0 w 61982"/>
                <a:gd name="connsiteY3" fmla="*/ 18513 h 18513"/>
              </a:gdLst>
              <a:ahLst/>
              <a:cxnLst>
                <a:cxn ang="0">
                  <a:pos x="connsiteX0" y="connsiteY0"/>
                </a:cxn>
                <a:cxn ang="0">
                  <a:pos x="connsiteX1" y="connsiteY1"/>
                </a:cxn>
                <a:cxn ang="0">
                  <a:pos x="connsiteX2" y="connsiteY2"/>
                </a:cxn>
                <a:cxn ang="0">
                  <a:pos x="connsiteX3" y="connsiteY3"/>
                </a:cxn>
              </a:cxnLst>
              <a:rect l="l" t="t" r="r" b="b"/>
              <a:pathLst>
                <a:path w="61982" h="18513">
                  <a:moveTo>
                    <a:pt x="0" y="18513"/>
                  </a:moveTo>
                  <a:lnTo>
                    <a:pt x="61982" y="18513"/>
                  </a:lnTo>
                  <a:cubicBezTo>
                    <a:pt x="60704" y="10853"/>
                    <a:pt x="54314" y="0"/>
                    <a:pt x="30672" y="0"/>
                  </a:cubicBezTo>
                  <a:cubicBezTo>
                    <a:pt x="7029" y="0"/>
                    <a:pt x="1278" y="10214"/>
                    <a:pt x="0" y="18513"/>
                  </a:cubicBezTo>
                  <a:close/>
                </a:path>
              </a:pathLst>
            </a:custGeom>
            <a:grpFill/>
            <a:ln w="6390" cap="flat">
              <a:noFill/>
              <a:prstDash val="solid"/>
              <a:miter/>
            </a:ln>
          </p:spPr>
          <p:txBody>
            <a:bodyPr rtlCol="0" anchor="ctr"/>
            <a:lstStyle/>
            <a:p>
              <a:endParaRPr lang="en-US"/>
            </a:p>
          </p:txBody>
        </p:sp>
      </p:grpSp>
      <p:cxnSp>
        <p:nvCxnSpPr>
          <p:cNvPr id="300" name="Straight Arrow Connector 299">
            <a:extLst>
              <a:ext uri="{FF2B5EF4-FFF2-40B4-BE49-F238E27FC236}">
                <a16:creationId xmlns:a16="http://schemas.microsoft.com/office/drawing/2014/main" id="{5D08F3EE-054A-334E-285E-E6DD870CB006}"/>
              </a:ext>
            </a:extLst>
          </p:cNvPr>
          <p:cNvCxnSpPr>
            <a:cxnSpLocks/>
          </p:cNvCxnSpPr>
          <p:nvPr/>
        </p:nvCxnSpPr>
        <p:spPr>
          <a:xfrm>
            <a:off x="1772425" y="2522389"/>
            <a:ext cx="251108" cy="524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01" name="Graphic 4">
            <a:extLst>
              <a:ext uri="{FF2B5EF4-FFF2-40B4-BE49-F238E27FC236}">
                <a16:creationId xmlns:a16="http://schemas.microsoft.com/office/drawing/2014/main" id="{BBFCD10F-864C-F4DA-0FD9-98AA18D37607}"/>
              </a:ext>
            </a:extLst>
          </p:cNvPr>
          <p:cNvGrpSpPr/>
          <p:nvPr/>
        </p:nvGrpSpPr>
        <p:grpSpPr>
          <a:xfrm>
            <a:off x="11301262" y="2192143"/>
            <a:ext cx="570447" cy="576000"/>
            <a:chOff x="8239823" y="3339623"/>
            <a:chExt cx="361674" cy="361971"/>
          </a:xfrm>
          <a:solidFill>
            <a:srgbClr val="86BC25"/>
          </a:solidFill>
        </p:grpSpPr>
        <p:sp>
          <p:nvSpPr>
            <p:cNvPr id="302" name="Graphic 4">
              <a:extLst>
                <a:ext uri="{FF2B5EF4-FFF2-40B4-BE49-F238E27FC236}">
                  <a16:creationId xmlns:a16="http://schemas.microsoft.com/office/drawing/2014/main" id="{DFAD3F74-9F3E-BD2E-0FD7-68750CF7AD02}"/>
                </a:ext>
              </a:extLst>
            </p:cNvPr>
            <p:cNvSpPr/>
            <p:nvPr/>
          </p:nvSpPr>
          <p:spPr>
            <a:xfrm>
              <a:off x="8323531" y="3442405"/>
              <a:ext cx="193615" cy="114911"/>
            </a:xfrm>
            <a:custGeom>
              <a:avLst/>
              <a:gdLst>
                <a:gd name="connsiteX0" fmla="*/ 53037 w 193615"/>
                <a:gd name="connsiteY0" fmla="*/ 114912 h 114911"/>
                <a:gd name="connsiteX1" fmla="*/ 97128 w 193615"/>
                <a:gd name="connsiteY1" fmla="*/ 83630 h 114911"/>
                <a:gd name="connsiteX2" fmla="*/ 141217 w 193615"/>
                <a:gd name="connsiteY2" fmla="*/ 114912 h 114911"/>
                <a:gd name="connsiteX3" fmla="*/ 193615 w 193615"/>
                <a:gd name="connsiteY3" fmla="*/ 114912 h 114911"/>
                <a:gd name="connsiteX4" fmla="*/ 193615 w 193615"/>
                <a:gd name="connsiteY4" fmla="*/ 112997 h 114911"/>
                <a:gd name="connsiteX5" fmla="*/ 193615 w 193615"/>
                <a:gd name="connsiteY5" fmla="*/ 30005 h 114911"/>
                <a:gd name="connsiteX6" fmla="*/ 163582 w 193615"/>
                <a:gd name="connsiteY6" fmla="*/ 0 h 114911"/>
                <a:gd name="connsiteX7" fmla="*/ 30033 w 193615"/>
                <a:gd name="connsiteY7" fmla="*/ 0 h 114911"/>
                <a:gd name="connsiteX8" fmla="*/ 0 w 193615"/>
                <a:gd name="connsiteY8" fmla="*/ 30005 h 114911"/>
                <a:gd name="connsiteX9" fmla="*/ 0 w 193615"/>
                <a:gd name="connsiteY9" fmla="*/ 112997 h 114911"/>
                <a:gd name="connsiteX10" fmla="*/ 0 w 193615"/>
                <a:gd name="connsiteY10" fmla="*/ 114912 h 114911"/>
                <a:gd name="connsiteX11" fmla="*/ 53037 w 193615"/>
                <a:gd name="connsiteY11" fmla="*/ 114912 h 114911"/>
                <a:gd name="connsiteX12" fmla="*/ 174446 w 193615"/>
                <a:gd name="connsiteY12" fmla="*/ 10853 h 114911"/>
                <a:gd name="connsiteX13" fmla="*/ 182752 w 193615"/>
                <a:gd name="connsiteY13" fmla="*/ 19152 h 114911"/>
                <a:gd name="connsiteX14" fmla="*/ 174446 w 193615"/>
                <a:gd name="connsiteY14" fmla="*/ 27451 h 114911"/>
                <a:gd name="connsiteX15" fmla="*/ 166138 w 193615"/>
                <a:gd name="connsiteY15" fmla="*/ 19152 h 114911"/>
                <a:gd name="connsiteX16" fmla="*/ 174446 w 193615"/>
                <a:gd name="connsiteY16" fmla="*/ 10853 h 114911"/>
                <a:gd name="connsiteX17" fmla="*/ 174446 w 193615"/>
                <a:gd name="connsiteY17" fmla="*/ 10853 h 114911"/>
                <a:gd name="connsiteX18" fmla="*/ 97766 w 193615"/>
                <a:gd name="connsiteY18" fmla="*/ 11491 h 114911"/>
                <a:gd name="connsiteX19" fmla="*/ 130355 w 193615"/>
                <a:gd name="connsiteY19" fmla="*/ 44050 h 114911"/>
                <a:gd name="connsiteX20" fmla="*/ 97766 w 193615"/>
                <a:gd name="connsiteY20" fmla="*/ 76608 h 114911"/>
                <a:gd name="connsiteX21" fmla="*/ 65178 w 193615"/>
                <a:gd name="connsiteY21" fmla="*/ 44050 h 114911"/>
                <a:gd name="connsiteX22" fmla="*/ 65178 w 193615"/>
                <a:gd name="connsiteY22" fmla="*/ 44050 h 114911"/>
                <a:gd name="connsiteX23" fmla="*/ 97766 w 193615"/>
                <a:gd name="connsiteY23" fmla="*/ 11491 h 114911"/>
                <a:gd name="connsiteX24" fmla="*/ 97766 w 193615"/>
                <a:gd name="connsiteY24" fmla="*/ 11491 h 11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3615" h="114911">
                  <a:moveTo>
                    <a:pt x="53037" y="114912"/>
                  </a:moveTo>
                  <a:cubicBezTo>
                    <a:pt x="54953" y="98952"/>
                    <a:pt x="67094" y="83630"/>
                    <a:pt x="97128" y="83630"/>
                  </a:cubicBezTo>
                  <a:cubicBezTo>
                    <a:pt x="127160" y="83630"/>
                    <a:pt x="139301" y="98952"/>
                    <a:pt x="141217" y="114912"/>
                  </a:cubicBezTo>
                  <a:lnTo>
                    <a:pt x="193615" y="114912"/>
                  </a:lnTo>
                  <a:cubicBezTo>
                    <a:pt x="193615" y="114273"/>
                    <a:pt x="193615" y="113635"/>
                    <a:pt x="193615" y="112997"/>
                  </a:cubicBezTo>
                  <a:lnTo>
                    <a:pt x="193615" y="30005"/>
                  </a:lnTo>
                  <a:cubicBezTo>
                    <a:pt x="193615" y="13407"/>
                    <a:pt x="180197" y="0"/>
                    <a:pt x="163582" y="0"/>
                  </a:cubicBezTo>
                  <a:lnTo>
                    <a:pt x="30033" y="0"/>
                  </a:lnTo>
                  <a:cubicBezTo>
                    <a:pt x="13419" y="0"/>
                    <a:pt x="0" y="13407"/>
                    <a:pt x="0" y="30005"/>
                  </a:cubicBezTo>
                  <a:lnTo>
                    <a:pt x="0" y="112997"/>
                  </a:lnTo>
                  <a:cubicBezTo>
                    <a:pt x="0" y="113635"/>
                    <a:pt x="0" y="114273"/>
                    <a:pt x="0" y="114912"/>
                  </a:cubicBezTo>
                  <a:lnTo>
                    <a:pt x="53037" y="114912"/>
                  </a:lnTo>
                  <a:close/>
                  <a:moveTo>
                    <a:pt x="174446" y="10853"/>
                  </a:moveTo>
                  <a:cubicBezTo>
                    <a:pt x="178918" y="10853"/>
                    <a:pt x="182752" y="14683"/>
                    <a:pt x="182752" y="19152"/>
                  </a:cubicBezTo>
                  <a:cubicBezTo>
                    <a:pt x="182752" y="23621"/>
                    <a:pt x="178918" y="27451"/>
                    <a:pt x="174446" y="27451"/>
                  </a:cubicBezTo>
                  <a:cubicBezTo>
                    <a:pt x="169972" y="27451"/>
                    <a:pt x="166138" y="23621"/>
                    <a:pt x="166138" y="19152"/>
                  </a:cubicBezTo>
                  <a:cubicBezTo>
                    <a:pt x="166138" y="14683"/>
                    <a:pt x="169972" y="10853"/>
                    <a:pt x="174446" y="10853"/>
                  </a:cubicBezTo>
                  <a:lnTo>
                    <a:pt x="174446" y="10853"/>
                  </a:lnTo>
                  <a:close/>
                  <a:moveTo>
                    <a:pt x="97766" y="11491"/>
                  </a:moveTo>
                  <a:cubicBezTo>
                    <a:pt x="115658" y="11491"/>
                    <a:pt x="130355" y="26175"/>
                    <a:pt x="130355" y="44050"/>
                  </a:cubicBezTo>
                  <a:cubicBezTo>
                    <a:pt x="130355" y="61925"/>
                    <a:pt x="115658" y="76608"/>
                    <a:pt x="97766" y="76608"/>
                  </a:cubicBezTo>
                  <a:cubicBezTo>
                    <a:pt x="79874" y="76608"/>
                    <a:pt x="65178" y="61925"/>
                    <a:pt x="65178" y="44050"/>
                  </a:cubicBezTo>
                  <a:lnTo>
                    <a:pt x="65178" y="44050"/>
                  </a:lnTo>
                  <a:cubicBezTo>
                    <a:pt x="64538" y="26813"/>
                    <a:pt x="79235" y="12130"/>
                    <a:pt x="97766" y="11491"/>
                  </a:cubicBezTo>
                  <a:lnTo>
                    <a:pt x="97766" y="11491"/>
                  </a:lnTo>
                  <a:close/>
                </a:path>
              </a:pathLst>
            </a:custGeom>
            <a:grpFill/>
            <a:ln w="6390" cap="flat">
              <a:noFill/>
              <a:prstDash val="solid"/>
              <a:miter/>
            </a:ln>
          </p:spPr>
          <p:txBody>
            <a:bodyPr rtlCol="0" anchor="ctr"/>
            <a:lstStyle/>
            <a:p>
              <a:endParaRPr lang="en-US"/>
            </a:p>
          </p:txBody>
        </p:sp>
        <p:sp>
          <p:nvSpPr>
            <p:cNvPr id="303" name="Graphic 4">
              <a:extLst>
                <a:ext uri="{FF2B5EF4-FFF2-40B4-BE49-F238E27FC236}">
                  <a16:creationId xmlns:a16="http://schemas.microsoft.com/office/drawing/2014/main" id="{A26B87B4-BF67-E4AB-5041-FE604214A041}"/>
                </a:ext>
              </a:extLst>
            </p:cNvPr>
            <p:cNvSpPr/>
            <p:nvPr/>
          </p:nvSpPr>
          <p:spPr>
            <a:xfrm>
              <a:off x="8410435" y="3598175"/>
              <a:ext cx="20447" cy="13406"/>
            </a:xfrm>
            <a:custGeom>
              <a:avLst/>
              <a:gdLst>
                <a:gd name="connsiteX0" fmla="*/ 0 w 20447"/>
                <a:gd name="connsiteY0" fmla="*/ 0 h 13406"/>
                <a:gd name="connsiteX1" fmla="*/ 20447 w 20447"/>
                <a:gd name="connsiteY1" fmla="*/ 0 h 13406"/>
                <a:gd name="connsiteX2" fmla="*/ 20447 w 20447"/>
                <a:gd name="connsiteY2" fmla="*/ 13406 h 13406"/>
                <a:gd name="connsiteX3" fmla="*/ 0 w 20447"/>
                <a:gd name="connsiteY3" fmla="*/ 13406 h 13406"/>
              </a:gdLst>
              <a:ahLst/>
              <a:cxnLst>
                <a:cxn ang="0">
                  <a:pos x="connsiteX0" y="connsiteY0"/>
                </a:cxn>
                <a:cxn ang="0">
                  <a:pos x="connsiteX1" y="connsiteY1"/>
                </a:cxn>
                <a:cxn ang="0">
                  <a:pos x="connsiteX2" y="connsiteY2"/>
                </a:cxn>
                <a:cxn ang="0">
                  <a:pos x="connsiteX3" y="connsiteY3"/>
                </a:cxn>
              </a:cxnLst>
              <a:rect l="l" t="t" r="r" b="b"/>
              <a:pathLst>
                <a:path w="20447" h="13406">
                  <a:moveTo>
                    <a:pt x="0" y="0"/>
                  </a:moveTo>
                  <a:lnTo>
                    <a:pt x="20447" y="0"/>
                  </a:lnTo>
                  <a:lnTo>
                    <a:pt x="20447" y="13406"/>
                  </a:lnTo>
                  <a:lnTo>
                    <a:pt x="0" y="13406"/>
                  </a:lnTo>
                  <a:close/>
                </a:path>
              </a:pathLst>
            </a:custGeom>
            <a:grpFill/>
            <a:ln w="6390" cap="flat">
              <a:noFill/>
              <a:prstDash val="solid"/>
              <a:miter/>
            </a:ln>
          </p:spPr>
          <p:txBody>
            <a:bodyPr rtlCol="0" anchor="ctr"/>
            <a:lstStyle/>
            <a:p>
              <a:endParaRPr lang="en-US"/>
            </a:p>
          </p:txBody>
        </p:sp>
        <p:sp>
          <p:nvSpPr>
            <p:cNvPr id="304" name="Graphic 4">
              <a:extLst>
                <a:ext uri="{FF2B5EF4-FFF2-40B4-BE49-F238E27FC236}">
                  <a16:creationId xmlns:a16="http://schemas.microsoft.com/office/drawing/2014/main" id="{3D719D33-A0FE-0067-A423-FB3794F757F9}"/>
                </a:ext>
              </a:extLst>
            </p:cNvPr>
            <p:cNvSpPr/>
            <p:nvPr/>
          </p:nvSpPr>
          <p:spPr>
            <a:xfrm>
              <a:off x="8400850" y="3467303"/>
              <a:ext cx="39618" cy="39580"/>
            </a:xfrm>
            <a:custGeom>
              <a:avLst/>
              <a:gdLst>
                <a:gd name="connsiteX0" fmla="*/ 19809 w 39618"/>
                <a:gd name="connsiteY0" fmla="*/ 39581 h 39580"/>
                <a:gd name="connsiteX1" fmla="*/ 39618 w 39618"/>
                <a:gd name="connsiteY1" fmla="*/ 19790 h 39580"/>
                <a:gd name="connsiteX2" fmla="*/ 19809 w 39618"/>
                <a:gd name="connsiteY2" fmla="*/ 0 h 39580"/>
                <a:gd name="connsiteX3" fmla="*/ 0 w 39618"/>
                <a:gd name="connsiteY3" fmla="*/ 19790 h 39580"/>
                <a:gd name="connsiteX4" fmla="*/ 0 w 39618"/>
                <a:gd name="connsiteY4" fmla="*/ 19790 h 39580"/>
                <a:gd name="connsiteX5" fmla="*/ 19809 w 39618"/>
                <a:gd name="connsiteY5" fmla="*/ 39581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18" h="39580">
                  <a:moveTo>
                    <a:pt x="19809" y="39581"/>
                  </a:moveTo>
                  <a:cubicBezTo>
                    <a:pt x="30672" y="39581"/>
                    <a:pt x="39618" y="30643"/>
                    <a:pt x="39618" y="19790"/>
                  </a:cubicBezTo>
                  <a:cubicBezTo>
                    <a:pt x="39618" y="8938"/>
                    <a:pt x="30672" y="0"/>
                    <a:pt x="19809" y="0"/>
                  </a:cubicBezTo>
                  <a:cubicBezTo>
                    <a:pt x="8946" y="0"/>
                    <a:pt x="0" y="8938"/>
                    <a:pt x="0" y="19790"/>
                  </a:cubicBezTo>
                  <a:lnTo>
                    <a:pt x="0" y="19790"/>
                  </a:lnTo>
                  <a:cubicBezTo>
                    <a:pt x="0" y="30643"/>
                    <a:pt x="8946" y="39581"/>
                    <a:pt x="19809" y="39581"/>
                  </a:cubicBezTo>
                  <a:close/>
                </a:path>
              </a:pathLst>
            </a:custGeom>
            <a:grpFill/>
            <a:ln w="6390" cap="flat">
              <a:noFill/>
              <a:prstDash val="solid"/>
              <a:miter/>
            </a:ln>
          </p:spPr>
          <p:txBody>
            <a:bodyPr rtlCol="0" anchor="ctr"/>
            <a:lstStyle/>
            <a:p>
              <a:endParaRPr lang="en-US"/>
            </a:p>
          </p:txBody>
        </p:sp>
        <p:sp>
          <p:nvSpPr>
            <p:cNvPr id="305" name="Graphic 4">
              <a:extLst>
                <a:ext uri="{FF2B5EF4-FFF2-40B4-BE49-F238E27FC236}">
                  <a16:creationId xmlns:a16="http://schemas.microsoft.com/office/drawing/2014/main" id="{A2A378A2-D207-1573-D5EA-FC8EEBF98FF5}"/>
                </a:ext>
              </a:extLst>
            </p:cNvPr>
            <p:cNvSpPr/>
            <p:nvPr/>
          </p:nvSpPr>
          <p:spPr>
            <a:xfrm>
              <a:off x="8239823" y="3339623"/>
              <a:ext cx="361674" cy="361971"/>
            </a:xfrm>
            <a:custGeom>
              <a:avLst/>
              <a:gdLst>
                <a:gd name="connsiteX0" fmla="*/ 180836 w 361674"/>
                <a:gd name="connsiteY0" fmla="*/ 0 h 361971"/>
                <a:gd name="connsiteX1" fmla="*/ 0 w 361674"/>
                <a:gd name="connsiteY1" fmla="*/ 180667 h 361971"/>
                <a:gd name="connsiteX2" fmla="*/ 180836 w 361674"/>
                <a:gd name="connsiteY2" fmla="*/ 361972 h 361971"/>
                <a:gd name="connsiteX3" fmla="*/ 361670 w 361674"/>
                <a:gd name="connsiteY3" fmla="*/ 181305 h 361971"/>
                <a:gd name="connsiteX4" fmla="*/ 361670 w 361674"/>
                <a:gd name="connsiteY4" fmla="*/ 181305 h 361971"/>
                <a:gd name="connsiteX5" fmla="*/ 180836 w 361674"/>
                <a:gd name="connsiteY5" fmla="*/ 0 h 361971"/>
                <a:gd name="connsiteX6" fmla="*/ 180836 w 361674"/>
                <a:gd name="connsiteY6" fmla="*/ 0 h 361971"/>
                <a:gd name="connsiteX7" fmla="*/ 290742 w 361674"/>
                <a:gd name="connsiteY7" fmla="*/ 215779 h 361971"/>
                <a:gd name="connsiteX8" fmla="*/ 290103 w 361674"/>
                <a:gd name="connsiteY8" fmla="*/ 222163 h 361971"/>
                <a:gd name="connsiteX9" fmla="*/ 290742 w 361674"/>
                <a:gd name="connsiteY9" fmla="*/ 224078 h 361971"/>
                <a:gd name="connsiteX10" fmla="*/ 288825 w 361674"/>
                <a:gd name="connsiteY10" fmla="*/ 228546 h 361971"/>
                <a:gd name="connsiteX11" fmla="*/ 247930 w 361674"/>
                <a:gd name="connsiteY11" fmla="*/ 258551 h 361971"/>
                <a:gd name="connsiteX12" fmla="*/ 204478 w 361674"/>
                <a:gd name="connsiteY12" fmla="*/ 258551 h 361971"/>
                <a:gd name="connsiteX13" fmla="*/ 204478 w 361674"/>
                <a:gd name="connsiteY13" fmla="*/ 272596 h 361971"/>
                <a:gd name="connsiteX14" fmla="*/ 215341 w 361674"/>
                <a:gd name="connsiteY14" fmla="*/ 272596 h 361971"/>
                <a:gd name="connsiteX15" fmla="*/ 221731 w 361674"/>
                <a:gd name="connsiteY15" fmla="*/ 278980 h 361971"/>
                <a:gd name="connsiteX16" fmla="*/ 215341 w 361674"/>
                <a:gd name="connsiteY16" fmla="*/ 285364 h 361971"/>
                <a:gd name="connsiteX17" fmla="*/ 146969 w 361674"/>
                <a:gd name="connsiteY17" fmla="*/ 285364 h 361971"/>
                <a:gd name="connsiteX18" fmla="*/ 140579 w 361674"/>
                <a:gd name="connsiteY18" fmla="*/ 278980 h 361971"/>
                <a:gd name="connsiteX19" fmla="*/ 146969 w 361674"/>
                <a:gd name="connsiteY19" fmla="*/ 272596 h 361971"/>
                <a:gd name="connsiteX20" fmla="*/ 157831 w 361674"/>
                <a:gd name="connsiteY20" fmla="*/ 272596 h 361971"/>
                <a:gd name="connsiteX21" fmla="*/ 157831 w 361674"/>
                <a:gd name="connsiteY21" fmla="*/ 258551 h 361971"/>
                <a:gd name="connsiteX22" fmla="*/ 114380 w 361674"/>
                <a:gd name="connsiteY22" fmla="*/ 258551 h 361971"/>
                <a:gd name="connsiteX23" fmla="*/ 73484 w 361674"/>
                <a:gd name="connsiteY23" fmla="*/ 228546 h 361971"/>
                <a:gd name="connsiteX24" fmla="*/ 71567 w 361674"/>
                <a:gd name="connsiteY24" fmla="*/ 224078 h 361971"/>
                <a:gd name="connsiteX25" fmla="*/ 72207 w 361674"/>
                <a:gd name="connsiteY25" fmla="*/ 222163 h 361971"/>
                <a:gd name="connsiteX26" fmla="*/ 71567 w 361674"/>
                <a:gd name="connsiteY26" fmla="*/ 215779 h 361971"/>
                <a:gd name="connsiteX27" fmla="*/ 71567 w 361674"/>
                <a:gd name="connsiteY27" fmla="*/ 132787 h 361971"/>
                <a:gd name="connsiteX28" fmla="*/ 114380 w 361674"/>
                <a:gd name="connsiteY28" fmla="*/ 90014 h 361971"/>
                <a:gd name="connsiteX29" fmla="*/ 247930 w 361674"/>
                <a:gd name="connsiteY29" fmla="*/ 90014 h 361971"/>
                <a:gd name="connsiteX30" fmla="*/ 290742 w 361674"/>
                <a:gd name="connsiteY30" fmla="*/ 132787 h 361971"/>
                <a:gd name="connsiteX31" fmla="*/ 290742 w 361674"/>
                <a:gd name="connsiteY31"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4" h="361971">
                  <a:moveTo>
                    <a:pt x="180836" y="0"/>
                  </a:moveTo>
                  <a:cubicBezTo>
                    <a:pt x="80513" y="0"/>
                    <a:pt x="0" y="81077"/>
                    <a:pt x="0" y="180667"/>
                  </a:cubicBezTo>
                  <a:cubicBezTo>
                    <a:pt x="0" y="280895"/>
                    <a:pt x="81152" y="361972"/>
                    <a:pt x="180836" y="361972"/>
                  </a:cubicBezTo>
                  <a:cubicBezTo>
                    <a:pt x="281157" y="361972"/>
                    <a:pt x="361670" y="280895"/>
                    <a:pt x="361670" y="181305"/>
                  </a:cubicBezTo>
                  <a:lnTo>
                    <a:pt x="361670" y="181305"/>
                  </a:lnTo>
                  <a:cubicBezTo>
                    <a:pt x="362309" y="81077"/>
                    <a:pt x="281157" y="0"/>
                    <a:pt x="180836" y="0"/>
                  </a:cubicBezTo>
                  <a:cubicBezTo>
                    <a:pt x="180836" y="0"/>
                    <a:pt x="180836" y="0"/>
                    <a:pt x="180836" y="0"/>
                  </a:cubicBezTo>
                  <a:close/>
                  <a:moveTo>
                    <a:pt x="290742" y="215779"/>
                  </a:moveTo>
                  <a:cubicBezTo>
                    <a:pt x="290742" y="217694"/>
                    <a:pt x="290742" y="220247"/>
                    <a:pt x="290103" y="222163"/>
                  </a:cubicBezTo>
                  <a:cubicBezTo>
                    <a:pt x="290103" y="222801"/>
                    <a:pt x="290742" y="223439"/>
                    <a:pt x="290742" y="224078"/>
                  </a:cubicBezTo>
                  <a:cubicBezTo>
                    <a:pt x="290742" y="225993"/>
                    <a:pt x="290103" y="227270"/>
                    <a:pt x="288825" y="228546"/>
                  </a:cubicBezTo>
                  <a:cubicBezTo>
                    <a:pt x="283075" y="246422"/>
                    <a:pt x="266460" y="258551"/>
                    <a:pt x="247930" y="258551"/>
                  </a:cubicBezTo>
                  <a:lnTo>
                    <a:pt x="204478" y="258551"/>
                  </a:lnTo>
                  <a:lnTo>
                    <a:pt x="204478" y="272596"/>
                  </a:lnTo>
                  <a:lnTo>
                    <a:pt x="215341" y="272596"/>
                  </a:lnTo>
                  <a:cubicBezTo>
                    <a:pt x="219175" y="272596"/>
                    <a:pt x="221731" y="275149"/>
                    <a:pt x="221731" y="278980"/>
                  </a:cubicBezTo>
                  <a:cubicBezTo>
                    <a:pt x="221731" y="282810"/>
                    <a:pt x="219175" y="285364"/>
                    <a:pt x="215341" y="285364"/>
                  </a:cubicBezTo>
                  <a:lnTo>
                    <a:pt x="146969" y="285364"/>
                  </a:lnTo>
                  <a:cubicBezTo>
                    <a:pt x="143135" y="285364"/>
                    <a:pt x="140579" y="282810"/>
                    <a:pt x="140579" y="278980"/>
                  </a:cubicBezTo>
                  <a:cubicBezTo>
                    <a:pt x="140579" y="275149"/>
                    <a:pt x="143135" y="272596"/>
                    <a:pt x="146969" y="272596"/>
                  </a:cubicBezTo>
                  <a:lnTo>
                    <a:pt x="157831" y="272596"/>
                  </a:lnTo>
                  <a:lnTo>
                    <a:pt x="157831" y="258551"/>
                  </a:lnTo>
                  <a:lnTo>
                    <a:pt x="114380" y="258551"/>
                  </a:lnTo>
                  <a:cubicBezTo>
                    <a:pt x="95849" y="258551"/>
                    <a:pt x="79235" y="246422"/>
                    <a:pt x="73484" y="228546"/>
                  </a:cubicBezTo>
                  <a:cubicBezTo>
                    <a:pt x="72207" y="227270"/>
                    <a:pt x="71567" y="225993"/>
                    <a:pt x="71567" y="224078"/>
                  </a:cubicBezTo>
                  <a:cubicBezTo>
                    <a:pt x="71567" y="223439"/>
                    <a:pt x="71567" y="222801"/>
                    <a:pt x="72207" y="222163"/>
                  </a:cubicBezTo>
                  <a:cubicBezTo>
                    <a:pt x="71567" y="220247"/>
                    <a:pt x="71567" y="217694"/>
                    <a:pt x="71567" y="215779"/>
                  </a:cubicBezTo>
                  <a:lnTo>
                    <a:pt x="71567" y="132787"/>
                  </a:lnTo>
                  <a:cubicBezTo>
                    <a:pt x="71567" y="109166"/>
                    <a:pt x="90737" y="90014"/>
                    <a:pt x="114380" y="90014"/>
                  </a:cubicBezTo>
                  <a:lnTo>
                    <a:pt x="247930" y="90014"/>
                  </a:lnTo>
                  <a:cubicBezTo>
                    <a:pt x="271572" y="90014"/>
                    <a:pt x="290742" y="109166"/>
                    <a:pt x="290742" y="132787"/>
                  </a:cubicBezTo>
                  <a:lnTo>
                    <a:pt x="290742" y="215779"/>
                  </a:lnTo>
                  <a:close/>
                </a:path>
              </a:pathLst>
            </a:custGeom>
            <a:grpFill/>
            <a:ln w="6390" cap="flat">
              <a:noFill/>
              <a:prstDash val="solid"/>
              <a:miter/>
            </a:ln>
          </p:spPr>
          <p:txBody>
            <a:bodyPr rtlCol="0" anchor="ctr"/>
            <a:lstStyle/>
            <a:p>
              <a:endParaRPr lang="en-US"/>
            </a:p>
          </p:txBody>
        </p:sp>
        <p:sp>
          <p:nvSpPr>
            <p:cNvPr id="306" name="Graphic 4">
              <a:extLst>
                <a:ext uri="{FF2B5EF4-FFF2-40B4-BE49-F238E27FC236}">
                  <a16:creationId xmlns:a16="http://schemas.microsoft.com/office/drawing/2014/main" id="{131C80C3-D94B-037B-F632-C8DF3E609FE5}"/>
                </a:ext>
              </a:extLst>
            </p:cNvPr>
            <p:cNvSpPr/>
            <p:nvPr/>
          </p:nvSpPr>
          <p:spPr>
            <a:xfrm>
              <a:off x="8328005" y="3570085"/>
              <a:ext cx="185947" cy="15321"/>
            </a:xfrm>
            <a:custGeom>
              <a:avLst/>
              <a:gdLst>
                <a:gd name="connsiteX0" fmla="*/ 0 w 185947"/>
                <a:gd name="connsiteY0" fmla="*/ 0 h 15321"/>
                <a:gd name="connsiteX1" fmla="*/ 26199 w 185947"/>
                <a:gd name="connsiteY1" fmla="*/ 15322 h 15321"/>
                <a:gd name="connsiteX2" fmla="*/ 159748 w 185947"/>
                <a:gd name="connsiteY2" fmla="*/ 15322 h 15321"/>
                <a:gd name="connsiteX3" fmla="*/ 185947 w 185947"/>
                <a:gd name="connsiteY3" fmla="*/ 0 h 15321"/>
                <a:gd name="connsiteX4" fmla="*/ 0 w 185947"/>
                <a:gd name="connsiteY4" fmla="*/ 0 h 15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47" h="15321">
                  <a:moveTo>
                    <a:pt x="0" y="0"/>
                  </a:moveTo>
                  <a:cubicBezTo>
                    <a:pt x="5111" y="9576"/>
                    <a:pt x="15335" y="15322"/>
                    <a:pt x="26199" y="15322"/>
                  </a:cubicBezTo>
                  <a:lnTo>
                    <a:pt x="159748" y="15322"/>
                  </a:lnTo>
                  <a:cubicBezTo>
                    <a:pt x="170611" y="15322"/>
                    <a:pt x="180196" y="9576"/>
                    <a:pt x="185947" y="0"/>
                  </a:cubicBezTo>
                  <a:lnTo>
                    <a:pt x="0" y="0"/>
                  </a:lnTo>
                  <a:close/>
                </a:path>
              </a:pathLst>
            </a:custGeom>
            <a:grpFill/>
            <a:ln w="6390" cap="flat">
              <a:noFill/>
              <a:prstDash val="solid"/>
              <a:miter/>
            </a:ln>
          </p:spPr>
          <p:txBody>
            <a:bodyPr rtlCol="0" anchor="ctr"/>
            <a:lstStyle/>
            <a:p>
              <a:endParaRPr lang="en-US"/>
            </a:p>
          </p:txBody>
        </p:sp>
        <p:sp>
          <p:nvSpPr>
            <p:cNvPr id="307" name="Graphic 4">
              <a:extLst>
                <a:ext uri="{FF2B5EF4-FFF2-40B4-BE49-F238E27FC236}">
                  <a16:creationId xmlns:a16="http://schemas.microsoft.com/office/drawing/2014/main" id="{8E53EF25-E13E-162E-2680-5E16B1397DD7}"/>
                </a:ext>
              </a:extLst>
            </p:cNvPr>
            <p:cNvSpPr/>
            <p:nvPr/>
          </p:nvSpPr>
          <p:spPr>
            <a:xfrm>
              <a:off x="8389987" y="3538804"/>
              <a:ext cx="61982" cy="18513"/>
            </a:xfrm>
            <a:custGeom>
              <a:avLst/>
              <a:gdLst>
                <a:gd name="connsiteX0" fmla="*/ 0 w 61982"/>
                <a:gd name="connsiteY0" fmla="*/ 18513 h 18513"/>
                <a:gd name="connsiteX1" fmla="*/ 61982 w 61982"/>
                <a:gd name="connsiteY1" fmla="*/ 18513 h 18513"/>
                <a:gd name="connsiteX2" fmla="*/ 30672 w 61982"/>
                <a:gd name="connsiteY2" fmla="*/ 0 h 18513"/>
                <a:gd name="connsiteX3" fmla="*/ 0 w 61982"/>
                <a:gd name="connsiteY3" fmla="*/ 18513 h 18513"/>
              </a:gdLst>
              <a:ahLst/>
              <a:cxnLst>
                <a:cxn ang="0">
                  <a:pos x="connsiteX0" y="connsiteY0"/>
                </a:cxn>
                <a:cxn ang="0">
                  <a:pos x="connsiteX1" y="connsiteY1"/>
                </a:cxn>
                <a:cxn ang="0">
                  <a:pos x="connsiteX2" y="connsiteY2"/>
                </a:cxn>
                <a:cxn ang="0">
                  <a:pos x="connsiteX3" y="connsiteY3"/>
                </a:cxn>
              </a:cxnLst>
              <a:rect l="l" t="t" r="r" b="b"/>
              <a:pathLst>
                <a:path w="61982" h="18513">
                  <a:moveTo>
                    <a:pt x="0" y="18513"/>
                  </a:moveTo>
                  <a:lnTo>
                    <a:pt x="61982" y="18513"/>
                  </a:lnTo>
                  <a:cubicBezTo>
                    <a:pt x="60704" y="10853"/>
                    <a:pt x="54314" y="0"/>
                    <a:pt x="30672" y="0"/>
                  </a:cubicBezTo>
                  <a:cubicBezTo>
                    <a:pt x="7029" y="0"/>
                    <a:pt x="1278" y="10214"/>
                    <a:pt x="0" y="18513"/>
                  </a:cubicBezTo>
                  <a:close/>
                </a:path>
              </a:pathLst>
            </a:custGeom>
            <a:grpFill/>
            <a:ln w="6390" cap="flat">
              <a:noFill/>
              <a:prstDash val="solid"/>
              <a:miter/>
            </a:ln>
          </p:spPr>
          <p:txBody>
            <a:bodyPr rtlCol="0" anchor="ctr"/>
            <a:lstStyle/>
            <a:p>
              <a:endParaRPr lang="en-US"/>
            </a:p>
          </p:txBody>
        </p:sp>
      </p:grpSp>
      <p:sp>
        <p:nvSpPr>
          <p:cNvPr id="308" name="TextBox 40">
            <a:extLst>
              <a:ext uri="{FF2B5EF4-FFF2-40B4-BE49-F238E27FC236}">
                <a16:creationId xmlns:a16="http://schemas.microsoft.com/office/drawing/2014/main" id="{41B91F79-34D6-5F54-0445-B7A2AA24DD1B}"/>
              </a:ext>
            </a:extLst>
          </p:cNvPr>
          <p:cNvSpPr txBox="1"/>
          <p:nvPr/>
        </p:nvSpPr>
        <p:spPr>
          <a:xfrm>
            <a:off x="11234581" y="2812157"/>
            <a:ext cx="677491" cy="415498"/>
          </a:xfrm>
          <a:prstGeom prst="rect">
            <a:avLst/>
          </a:prstGeom>
          <a:noFill/>
        </p:spPr>
        <p:txBody>
          <a:bodyPr wrap="square" lIns="0" tIns="0" rIns="0" bIns="0" rtlCol="0">
            <a:spAutoFit/>
          </a:bodyPr>
          <a:lstStyle>
            <a:defPPr>
              <a:defRPr lang="en-US"/>
            </a:defPPr>
            <a:lvl1pPr marR="0" lvl="0" indent="0" algn="ctr" defTabSz="1219170" fontAlgn="auto">
              <a:spcAft>
                <a:spcPts val="0"/>
              </a:spcAft>
              <a:buClrTx/>
              <a:buSzPct val="100000"/>
              <a:buFontTx/>
              <a:buNone/>
              <a:tabLst/>
              <a:defRPr kumimoji="0" sz="900" b="1" i="0" u="none" strike="noStrike" cap="none" spc="0" normalizeH="0" baseline="0">
                <a:ln>
                  <a:noFill/>
                </a:ln>
                <a:solidFill>
                  <a:srgbClr val="53565A"/>
                </a:solidFill>
                <a:effectLst/>
                <a:uLnTx/>
                <a:uFillTx/>
                <a:latin typeface="Open Sans Light"/>
                <a:cs typeface="Calibri" panose="020F0502020204030204" pitchFamily="34" charset="0"/>
              </a:defRPr>
            </a:lvl1pPr>
          </a:lstStyle>
          <a:p>
            <a:r>
              <a:rPr lang="en-US"/>
              <a:t>AI ASSISTANT</a:t>
            </a:r>
          </a:p>
          <a:p>
            <a:r>
              <a:rPr lang="en-US"/>
              <a:t>RESPONSE</a:t>
            </a:r>
          </a:p>
        </p:txBody>
      </p:sp>
      <p:cxnSp>
        <p:nvCxnSpPr>
          <p:cNvPr id="312" name="Straight Arrow Connector 311">
            <a:extLst>
              <a:ext uri="{FF2B5EF4-FFF2-40B4-BE49-F238E27FC236}">
                <a16:creationId xmlns:a16="http://schemas.microsoft.com/office/drawing/2014/main" id="{289468F3-FA42-2AD4-F8BE-EB74E7ACC77E}"/>
              </a:ext>
            </a:extLst>
          </p:cNvPr>
          <p:cNvCxnSpPr>
            <a:cxnSpLocks/>
          </p:cNvCxnSpPr>
          <p:nvPr/>
        </p:nvCxnSpPr>
        <p:spPr>
          <a:xfrm>
            <a:off x="10982935" y="2541387"/>
            <a:ext cx="251108" cy="524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34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Content Placeholder 34">
            <a:extLst>
              <a:ext uri="{FF2B5EF4-FFF2-40B4-BE49-F238E27FC236}">
                <a16:creationId xmlns:a16="http://schemas.microsoft.com/office/drawing/2014/main" id="{E20F4AAD-B64C-9820-AD2E-125A40133E52}"/>
              </a:ext>
            </a:extLst>
          </p:cNvPr>
          <p:cNvPicPr>
            <a:picLocks noGrp="1" noChangeAspect="1"/>
          </p:cNvPicPr>
          <p:nvPr>
            <p:ph sz="quarter" idx="4294967295"/>
          </p:nvPr>
        </p:nvPicPr>
        <p:blipFill>
          <a:blip r:embed="rId3"/>
          <a:srcRect l="13638" r="13638"/>
          <a:stretch/>
        </p:blipFill>
        <p:spPr>
          <a:xfrm>
            <a:off x="4697413" y="0"/>
            <a:ext cx="7494587" cy="6867525"/>
          </a:xfrm>
        </p:spPr>
      </p:pic>
      <p:grpSp>
        <p:nvGrpSpPr>
          <p:cNvPr id="39" name="Group 38">
            <a:extLst>
              <a:ext uri="{FF2B5EF4-FFF2-40B4-BE49-F238E27FC236}">
                <a16:creationId xmlns:a16="http://schemas.microsoft.com/office/drawing/2014/main" id="{3D237804-E818-692B-78EE-E2092D6C82B9}"/>
              </a:ext>
            </a:extLst>
          </p:cNvPr>
          <p:cNvGrpSpPr/>
          <p:nvPr/>
        </p:nvGrpSpPr>
        <p:grpSpPr>
          <a:xfrm>
            <a:off x="5686804" y="0"/>
            <a:ext cx="6505196" cy="6868244"/>
            <a:chOff x="5686804" y="-49428"/>
            <a:chExt cx="6505196" cy="6917672"/>
          </a:xfrm>
        </p:grpSpPr>
        <p:sp>
          <p:nvSpPr>
            <p:cNvPr id="37" name="Rectangle 36">
              <a:extLst>
                <a:ext uri="{FF2B5EF4-FFF2-40B4-BE49-F238E27FC236}">
                  <a16:creationId xmlns:a16="http://schemas.microsoft.com/office/drawing/2014/main" id="{1770C055-E2D1-966D-B857-FF1C1DD049D1}"/>
                </a:ext>
              </a:extLst>
            </p:cNvPr>
            <p:cNvSpPr/>
            <p:nvPr/>
          </p:nvSpPr>
          <p:spPr>
            <a:xfrm>
              <a:off x="7702826" y="-49428"/>
              <a:ext cx="4489174" cy="6917671"/>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38" name="Right Triangle 37">
              <a:extLst>
                <a:ext uri="{FF2B5EF4-FFF2-40B4-BE49-F238E27FC236}">
                  <a16:creationId xmlns:a16="http://schemas.microsoft.com/office/drawing/2014/main" id="{9C10DFFC-74D0-B62E-6B01-A863A4F5DBB6}"/>
                </a:ext>
              </a:extLst>
            </p:cNvPr>
            <p:cNvSpPr/>
            <p:nvPr/>
          </p:nvSpPr>
          <p:spPr bwMode="gray">
            <a:xfrm flipH="1">
              <a:off x="5686804" y="-28575"/>
              <a:ext cx="2016264" cy="6896819"/>
            </a:xfrm>
            <a:prstGeom prst="rtTriangle">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defTabSz="914400" hangingPunct="0"/>
              <a:endParaRPr lang="en-GB" sz="1800" kern="0">
                <a:solidFill>
                  <a:srgbClr val="000000"/>
                </a:solidFill>
                <a:latin typeface="Calibri" panose="020F0502020204030204" pitchFamily="34" charset="0"/>
                <a:ea typeface="Open Sans"/>
                <a:cs typeface="Calibri" panose="020F0502020204030204" pitchFamily="34" charset="0"/>
              </a:endParaRPr>
            </a:p>
          </p:txBody>
        </p:sp>
      </p:grpSp>
      <p:sp>
        <p:nvSpPr>
          <p:cNvPr id="4" name="Freeform 26">
            <a:extLst>
              <a:ext uri="{FF2B5EF4-FFF2-40B4-BE49-F238E27FC236}">
                <a16:creationId xmlns:a16="http://schemas.microsoft.com/office/drawing/2014/main" id="{89780BE6-C85D-7015-35F1-AA49F9B9980F}"/>
              </a:ext>
            </a:extLst>
          </p:cNvPr>
          <p:cNvSpPr/>
          <p:nvPr/>
        </p:nvSpPr>
        <p:spPr>
          <a:xfrm>
            <a:off x="3181350" y="-1"/>
            <a:ext cx="5627370" cy="6868245"/>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16" name="Rectangle: Rounded Corners 15">
            <a:extLst>
              <a:ext uri="{FF2B5EF4-FFF2-40B4-BE49-F238E27FC236}">
                <a16:creationId xmlns:a16="http://schemas.microsoft.com/office/drawing/2014/main" id="{85686B01-9D59-14A0-E5AA-515B44BEA5DC}"/>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46" name="Graphic 45" descr="Upward trend with solid fill">
            <a:extLst>
              <a:ext uri="{FF2B5EF4-FFF2-40B4-BE49-F238E27FC236}">
                <a16:creationId xmlns:a16="http://schemas.microsoft.com/office/drawing/2014/main" id="{3DDE6C52-A4F5-4D82-C842-51CD317DC9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8971" y="774249"/>
            <a:ext cx="396000" cy="396000"/>
          </a:xfrm>
          <a:prstGeom prst="rect">
            <a:avLst/>
          </a:prstGeom>
        </p:spPr>
      </p:pic>
      <p:grpSp>
        <p:nvGrpSpPr>
          <p:cNvPr id="48" name="Graphic 4">
            <a:extLst>
              <a:ext uri="{FF2B5EF4-FFF2-40B4-BE49-F238E27FC236}">
                <a16:creationId xmlns:a16="http://schemas.microsoft.com/office/drawing/2014/main" id="{09CB9B2B-15D5-BC5A-A713-FB68BEAE4168}"/>
              </a:ext>
            </a:extLst>
          </p:cNvPr>
          <p:cNvGrpSpPr>
            <a:grpSpLocks noChangeAspect="1"/>
          </p:cNvGrpSpPr>
          <p:nvPr/>
        </p:nvGrpSpPr>
        <p:grpSpPr>
          <a:xfrm>
            <a:off x="421301" y="952536"/>
            <a:ext cx="288000" cy="276914"/>
            <a:chOff x="1573681" y="2918430"/>
            <a:chExt cx="246172" cy="236696"/>
          </a:xfrm>
          <a:solidFill>
            <a:schemeClr val="accent1">
              <a:lumMod val="40000"/>
              <a:lumOff val="60000"/>
            </a:schemeClr>
          </a:solidFill>
        </p:grpSpPr>
        <p:sp>
          <p:nvSpPr>
            <p:cNvPr id="49" name="Graphic 4">
              <a:extLst>
                <a:ext uri="{FF2B5EF4-FFF2-40B4-BE49-F238E27FC236}">
                  <a16:creationId xmlns:a16="http://schemas.microsoft.com/office/drawing/2014/main" id="{723174BE-989B-CAD9-DEF9-05E32AB3B149}"/>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0C0BD0AA-5D64-5494-AA3C-74EE4D76CEF3}"/>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85CCF4D6-1A2A-3275-8DBE-A0E61B53C7F6}"/>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CD4DDB8-9AD0-4F78-47C0-077DAE5BF5B7}"/>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8298E5F2-91B4-5FC4-B053-58B36407C89A}"/>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1D7A50B1-77D0-D01F-1A96-0418F1A1618D}"/>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sp>
        <p:nvSpPr>
          <p:cNvPr id="70" name="Rectangle: Rounded Corners 69">
            <a:extLst>
              <a:ext uri="{FF2B5EF4-FFF2-40B4-BE49-F238E27FC236}">
                <a16:creationId xmlns:a16="http://schemas.microsoft.com/office/drawing/2014/main" id="{C7E81868-41C3-FA1D-AC6F-6B19B2F0E604}"/>
              </a:ext>
            </a:extLst>
          </p:cNvPr>
          <p:cNvSpPr/>
          <p:nvPr/>
        </p:nvSpPr>
        <p:spPr>
          <a:xfrm>
            <a:off x="374072" y="1581304"/>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20" name="Graphic 119" descr="Upward trend with solid fill">
            <a:extLst>
              <a:ext uri="{FF2B5EF4-FFF2-40B4-BE49-F238E27FC236}">
                <a16:creationId xmlns:a16="http://schemas.microsoft.com/office/drawing/2014/main" id="{B3F7650F-12E1-648A-67C5-E727EB9A0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346" y="1728932"/>
            <a:ext cx="396000" cy="396000"/>
          </a:xfrm>
          <a:prstGeom prst="rect">
            <a:avLst/>
          </a:prstGeom>
        </p:spPr>
      </p:pic>
      <p:sp>
        <p:nvSpPr>
          <p:cNvPr id="89" name="Text Placeholder 5">
            <a:extLst>
              <a:ext uri="{FF2B5EF4-FFF2-40B4-BE49-F238E27FC236}">
                <a16:creationId xmlns:a16="http://schemas.microsoft.com/office/drawing/2014/main" id="{AD4A4310-6795-F549-1FA4-6F994175B2BF}"/>
              </a:ext>
            </a:extLst>
          </p:cNvPr>
          <p:cNvSpPr txBox="1">
            <a:spLocks/>
          </p:cNvSpPr>
          <p:nvPr/>
        </p:nvSpPr>
        <p:spPr>
          <a:xfrm>
            <a:off x="1342256" y="735883"/>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Use Case Description – Context and Goal</a:t>
            </a:r>
          </a:p>
        </p:txBody>
      </p:sp>
      <p:sp>
        <p:nvSpPr>
          <p:cNvPr id="90" name="Title 2">
            <a:extLst>
              <a:ext uri="{FF2B5EF4-FFF2-40B4-BE49-F238E27FC236}">
                <a16:creationId xmlns:a16="http://schemas.microsoft.com/office/drawing/2014/main" id="{8AF98ED5-12E8-F203-7ABB-D94E6626E85F}"/>
              </a:ext>
            </a:extLst>
          </p:cNvPr>
          <p:cNvSpPr txBox="1">
            <a:spLocks/>
          </p:cNvSpPr>
          <p:nvPr/>
        </p:nvSpPr>
        <p:spPr bwMode="gray">
          <a:xfrm>
            <a:off x="1342256" y="401782"/>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a:t>Deloitte Tech Experience</a:t>
            </a:r>
          </a:p>
        </p:txBody>
      </p:sp>
      <p:sp>
        <p:nvSpPr>
          <p:cNvPr id="31" name="Content Placeholder 4">
            <a:extLst>
              <a:ext uri="{FF2B5EF4-FFF2-40B4-BE49-F238E27FC236}">
                <a16:creationId xmlns:a16="http://schemas.microsoft.com/office/drawing/2014/main" id="{929946DD-93CA-AB64-9845-7E650E32F3EB}"/>
              </a:ext>
            </a:extLst>
          </p:cNvPr>
          <p:cNvSpPr>
            <a:spLocks noGrp="1"/>
          </p:cNvSpPr>
          <p:nvPr>
            <p:ph sz="quarter" idx="16"/>
          </p:nvPr>
        </p:nvSpPr>
        <p:spPr>
          <a:xfrm>
            <a:off x="1348792" y="1665288"/>
            <a:ext cx="5814000" cy="4633913"/>
          </a:xfrm>
        </p:spPr>
        <p:txBody>
          <a:bodyPr vert="horz" lIns="0" tIns="0" rIns="0" bIns="0" rtlCol="0" anchor="t">
            <a:noAutofit/>
          </a:bodyPr>
          <a:lstStyle/>
          <a:p>
            <a:pPr marL="171450" indent="-171450" algn="just">
              <a:buClr>
                <a:schemeClr val="accent1"/>
              </a:buClr>
              <a:buFont typeface="Verdana" panose="020B0604030504040204" pitchFamily="34" charset="0"/>
              <a:buChar char="»"/>
            </a:pPr>
            <a:r>
              <a:rPr lang="en-US" sz="1100" b="1" noProof="0" err="1"/>
              <a:t>GreenPath</a:t>
            </a:r>
            <a:r>
              <a:rPr lang="en-US" sz="1100" b="1" noProof="0"/>
              <a:t> Solutions Inc.</a:t>
            </a:r>
            <a:r>
              <a:rPr lang="en-US" sz="1100" noProof="0"/>
              <a:t> is a fictional startup dedicated to promoting environmental sustainability and empowering young adults to make informed decisions about climate change.</a:t>
            </a:r>
            <a:r>
              <a:rPr lang="en-US" sz="1100"/>
              <a:t> The company focuses on </a:t>
            </a:r>
            <a:r>
              <a:rPr lang="en-US" sz="1100" b="1"/>
              <a:t>leveraging technology to educate and engage users to promote impactful actions toward a greener future.</a:t>
            </a:r>
          </a:p>
          <a:p>
            <a:pPr marL="171450" indent="-171450" algn="just">
              <a:buClr>
                <a:schemeClr val="accent1"/>
              </a:buClr>
              <a:buFont typeface="Verdana" panose="020B0604030504040204" pitchFamily="34" charset="0"/>
              <a:buChar char="»"/>
            </a:pPr>
            <a:endParaRPr lang="en-US" sz="600"/>
          </a:p>
          <a:p>
            <a:pPr marL="171450" indent="-171450" algn="just">
              <a:buClr>
                <a:schemeClr val="accent1"/>
              </a:buClr>
              <a:buFont typeface="Verdana" panose="020B0604030504040204" pitchFamily="34" charset="0"/>
              <a:buChar char="»"/>
            </a:pPr>
            <a:r>
              <a:rPr lang="en-US" sz="1100"/>
              <a:t>This use case aims to </a:t>
            </a:r>
            <a:r>
              <a:rPr lang="en-US" sz="1100" b="1"/>
              <a:t>develop a </a:t>
            </a:r>
            <a:r>
              <a:rPr lang="en-US" sz="1100" b="1" err="1"/>
              <a:t>GenAI</a:t>
            </a:r>
            <a:r>
              <a:rPr lang="en-US" sz="1100" b="1"/>
              <a:t>-powered chatbot</a:t>
            </a:r>
            <a:r>
              <a:rPr lang="en-US" sz="1100"/>
              <a:t>, </a:t>
            </a:r>
            <a:r>
              <a:rPr lang="en-US" sz="1100" b="1" err="1"/>
              <a:t>EcoGuide</a:t>
            </a:r>
            <a:r>
              <a:rPr lang="en-US" sz="1100"/>
              <a:t>, that provides tailored climate change information and sustainable product recommendations.</a:t>
            </a:r>
            <a:endParaRPr lang="en-US" sz="1100">
              <a:ea typeface="Verdana"/>
            </a:endParaRPr>
          </a:p>
          <a:p>
            <a:pPr marL="171450" indent="-171450" algn="just">
              <a:buClr>
                <a:schemeClr val="accent1"/>
              </a:buClr>
              <a:buFont typeface="Verdana" panose="020B0604030504040204" pitchFamily="34" charset="0"/>
              <a:buChar char="»"/>
            </a:pPr>
            <a:endParaRPr lang="en-US" sz="600"/>
          </a:p>
          <a:p>
            <a:pPr marL="171450" indent="-171450" algn="just">
              <a:buClr>
                <a:schemeClr val="accent1"/>
              </a:buClr>
              <a:buFont typeface="Verdana" panose="020B0604030504040204" pitchFamily="34" charset="0"/>
              <a:buChar char="»"/>
            </a:pPr>
            <a:r>
              <a:rPr lang="en-US" sz="1100"/>
              <a:t>Knowing Deloitte’s extensive experience on efficiently helping companies to implement </a:t>
            </a:r>
            <a:r>
              <a:rPr lang="en-US" sz="1100" err="1"/>
              <a:t>GenAI</a:t>
            </a:r>
            <a:r>
              <a:rPr lang="en-US" sz="1100"/>
              <a:t>-powered technologies, </a:t>
            </a:r>
            <a:r>
              <a:rPr lang="en-US" sz="1100" noProof="0" err="1"/>
              <a:t>GreenPath</a:t>
            </a:r>
            <a:r>
              <a:rPr lang="en-US" sz="1100" noProof="0"/>
              <a:t> Solutions Inc.</a:t>
            </a:r>
            <a:r>
              <a:rPr lang="en-US" sz="1100"/>
              <a:t> </a:t>
            </a:r>
            <a:r>
              <a:rPr lang="en-US" sz="1100" noProof="0"/>
              <a:t>is requesting Deloitte to support on the following</a:t>
            </a:r>
            <a:r>
              <a:rPr lang="en-US" sz="1100"/>
              <a:t>:</a:t>
            </a:r>
            <a:endParaRPr lang="en-US" sz="1100">
              <a:ea typeface="Verdana"/>
            </a:endParaRPr>
          </a:p>
          <a:p>
            <a:pPr marL="542925" lvl="2" indent="-180975" algn="just">
              <a:lnSpc>
                <a:spcPct val="130000"/>
              </a:lnSpc>
              <a:spcAft>
                <a:spcPts val="1200"/>
              </a:spcAft>
              <a:buClr>
                <a:schemeClr val="accent1"/>
              </a:buClr>
            </a:pPr>
            <a:r>
              <a:rPr lang="en-US" sz="1100" noProof="0">
                <a:ea typeface="Verdana"/>
                <a:cs typeface="Verdana"/>
              </a:rPr>
              <a:t>Implementing an interactive chatbot that utilizes </a:t>
            </a:r>
            <a:r>
              <a:rPr lang="en-US" sz="1100" b="1" noProof="0" err="1">
                <a:ea typeface="Verdana"/>
                <a:cs typeface="Verdana"/>
              </a:rPr>
              <a:t>GenAI</a:t>
            </a:r>
            <a:r>
              <a:rPr lang="en-US" sz="1100" b="1" noProof="0">
                <a:ea typeface="Verdana"/>
                <a:cs typeface="Verdana"/>
              </a:rPr>
              <a:t> RAG architecture </a:t>
            </a:r>
            <a:r>
              <a:rPr lang="en-US" sz="1100" noProof="0">
                <a:ea typeface="Verdana"/>
                <a:cs typeface="Verdana"/>
              </a:rPr>
              <a:t>to deliver </a:t>
            </a:r>
            <a:r>
              <a:rPr lang="en-US" sz="1100" b="1" noProof="0">
                <a:ea typeface="Verdana"/>
                <a:cs typeface="Verdana"/>
              </a:rPr>
              <a:t>accurate and personalized climate change information</a:t>
            </a:r>
            <a:r>
              <a:rPr lang="en-US" sz="1100" b="1">
                <a:ea typeface="Verdana"/>
                <a:cs typeface="Verdana"/>
              </a:rPr>
              <a:t> </a:t>
            </a:r>
            <a:r>
              <a:rPr lang="en-US" sz="1100">
                <a:ea typeface="Verdana"/>
                <a:cs typeface="Verdana"/>
              </a:rPr>
              <a:t>and </a:t>
            </a:r>
            <a:r>
              <a:rPr lang="en-US" sz="1100" b="1">
                <a:ea typeface="Verdana"/>
                <a:cs typeface="Verdana"/>
              </a:rPr>
              <a:t>recommends </a:t>
            </a:r>
            <a:r>
              <a:rPr lang="en-US" sz="1100" b="1" err="1">
                <a:ea typeface="Verdana"/>
                <a:cs typeface="Verdana"/>
              </a:rPr>
              <a:t>EcoGuide</a:t>
            </a:r>
            <a:r>
              <a:rPr lang="en-US" sz="1100" b="1">
                <a:ea typeface="Verdana"/>
                <a:cs typeface="Verdana"/>
              </a:rPr>
              <a:t> products </a:t>
            </a:r>
            <a:r>
              <a:rPr lang="en-US" sz="1100">
                <a:ea typeface="Verdana"/>
                <a:cs typeface="Verdana"/>
              </a:rPr>
              <a:t>when requested</a:t>
            </a:r>
            <a:r>
              <a:rPr lang="en-US" sz="1100" noProof="0">
                <a:ea typeface="Verdana"/>
                <a:cs typeface="Verdana"/>
              </a:rPr>
              <a:t>.</a:t>
            </a:r>
          </a:p>
          <a:p>
            <a:pPr marL="542925" lvl="2" indent="-180975" algn="just">
              <a:lnSpc>
                <a:spcPct val="130000"/>
              </a:lnSpc>
              <a:spcAft>
                <a:spcPts val="1200"/>
              </a:spcAft>
              <a:buClr>
                <a:schemeClr val="accent1"/>
              </a:buClr>
              <a:buFont typeface="Verdana" panose="020B0604030504040204" pitchFamily="34" charset="0"/>
              <a:buChar char="»"/>
            </a:pPr>
            <a:endParaRPr lang="en-US" sz="1100" noProof="0">
              <a:ea typeface="Verdana"/>
              <a:cs typeface="Verdana"/>
            </a:endParaRPr>
          </a:p>
        </p:txBody>
      </p:sp>
      <p:grpSp>
        <p:nvGrpSpPr>
          <p:cNvPr id="3" name="Graphic 1100">
            <a:extLst>
              <a:ext uri="{FF2B5EF4-FFF2-40B4-BE49-F238E27FC236}">
                <a16:creationId xmlns:a16="http://schemas.microsoft.com/office/drawing/2014/main" id="{89D05DE0-C5AE-E9F8-0F1E-BD99571FCE99}"/>
              </a:ext>
            </a:extLst>
          </p:cNvPr>
          <p:cNvGrpSpPr>
            <a:grpSpLocks noChangeAspect="1"/>
          </p:cNvGrpSpPr>
          <p:nvPr/>
        </p:nvGrpSpPr>
        <p:grpSpPr>
          <a:xfrm>
            <a:off x="447688" y="5314360"/>
            <a:ext cx="263402" cy="360000"/>
            <a:chOff x="5810369" y="1478218"/>
            <a:chExt cx="159748" cy="218332"/>
          </a:xfrm>
          <a:solidFill>
            <a:schemeClr val="bg1"/>
          </a:solidFill>
        </p:grpSpPr>
        <p:sp>
          <p:nvSpPr>
            <p:cNvPr id="5" name="Graphic 1100">
              <a:extLst>
                <a:ext uri="{FF2B5EF4-FFF2-40B4-BE49-F238E27FC236}">
                  <a16:creationId xmlns:a16="http://schemas.microsoft.com/office/drawing/2014/main" id="{74011E64-0F07-9380-07B8-8D3DF63650DA}"/>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6" name="Graphic 1100">
              <a:extLst>
                <a:ext uri="{FF2B5EF4-FFF2-40B4-BE49-F238E27FC236}">
                  <a16:creationId xmlns:a16="http://schemas.microsoft.com/office/drawing/2014/main" id="{A947A39A-7507-97D1-D2D4-D925475645D3}"/>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7" name="Graphic 1100">
              <a:extLst>
                <a:ext uri="{FF2B5EF4-FFF2-40B4-BE49-F238E27FC236}">
                  <a16:creationId xmlns:a16="http://schemas.microsoft.com/office/drawing/2014/main" id="{8CC2AD0E-FAD5-FC39-3985-E94433F92E86}"/>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8" name="Graphic 1100">
              <a:extLst>
                <a:ext uri="{FF2B5EF4-FFF2-40B4-BE49-F238E27FC236}">
                  <a16:creationId xmlns:a16="http://schemas.microsoft.com/office/drawing/2014/main" id="{17CFD5AE-BCDC-A6CC-ACA7-A88F48300C09}"/>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9" name="Graphic 4">
            <a:extLst>
              <a:ext uri="{FF2B5EF4-FFF2-40B4-BE49-F238E27FC236}">
                <a16:creationId xmlns:a16="http://schemas.microsoft.com/office/drawing/2014/main" id="{04619429-639F-A34F-4A90-DA8B48D37348}"/>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10" name="Graphic 4">
              <a:extLst>
                <a:ext uri="{FF2B5EF4-FFF2-40B4-BE49-F238E27FC236}">
                  <a16:creationId xmlns:a16="http://schemas.microsoft.com/office/drawing/2014/main" id="{FCC47855-56BC-3769-CF4A-A340525A5C2C}"/>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68A5B824-313A-783D-5F2B-AFB3A11D5909}"/>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74E1FE43-B734-5D40-5D69-32390C806307}"/>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CD6DD6CD-EF62-4ABB-1EFF-977D2F5743FC}"/>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4" name="Graphic 4">
              <a:extLst>
                <a:ext uri="{FF2B5EF4-FFF2-40B4-BE49-F238E27FC236}">
                  <a16:creationId xmlns:a16="http://schemas.microsoft.com/office/drawing/2014/main" id="{2F35511C-7444-0057-77F7-001098980123}"/>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15" name="Graphic 1100">
            <a:extLst>
              <a:ext uri="{FF2B5EF4-FFF2-40B4-BE49-F238E27FC236}">
                <a16:creationId xmlns:a16="http://schemas.microsoft.com/office/drawing/2014/main" id="{AD3220BE-DC9A-2DC2-3E28-ACCCCCED5887}"/>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22" name="Graphic 1100">
              <a:extLst>
                <a:ext uri="{FF2B5EF4-FFF2-40B4-BE49-F238E27FC236}">
                  <a16:creationId xmlns:a16="http://schemas.microsoft.com/office/drawing/2014/main" id="{6B77FFFE-9A61-49CB-7721-4EF1C0EA84B6}"/>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28" name="Graphic 1100">
              <a:extLst>
                <a:ext uri="{FF2B5EF4-FFF2-40B4-BE49-F238E27FC236}">
                  <a16:creationId xmlns:a16="http://schemas.microsoft.com/office/drawing/2014/main" id="{91CA35FC-6602-9D31-FA4A-EE5E879877CB}"/>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29" name="Graphic 1100">
              <a:extLst>
                <a:ext uri="{FF2B5EF4-FFF2-40B4-BE49-F238E27FC236}">
                  <a16:creationId xmlns:a16="http://schemas.microsoft.com/office/drawing/2014/main" id="{3E6F4709-F4BA-AD1F-B7BE-C0AC00EE7252}"/>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30" name="Graphic 1100">
              <a:extLst>
                <a:ext uri="{FF2B5EF4-FFF2-40B4-BE49-F238E27FC236}">
                  <a16:creationId xmlns:a16="http://schemas.microsoft.com/office/drawing/2014/main" id="{78573F22-89A0-56DF-EFB1-FC03621B6E25}"/>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32" name="Graphic 4">
            <a:extLst>
              <a:ext uri="{FF2B5EF4-FFF2-40B4-BE49-F238E27FC236}">
                <a16:creationId xmlns:a16="http://schemas.microsoft.com/office/drawing/2014/main" id="{A786797C-0B6A-D3FB-DC66-630C943E2BBA}"/>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33" name="Graphic 4">
              <a:extLst>
                <a:ext uri="{FF2B5EF4-FFF2-40B4-BE49-F238E27FC236}">
                  <a16:creationId xmlns:a16="http://schemas.microsoft.com/office/drawing/2014/main" id="{7951F0EC-CAC5-E6BF-72A1-B2695601A3E0}"/>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3F75F3EB-248E-82AB-9731-D060EE857733}"/>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D041CBF5-89FA-A66B-6B0A-71DCD27D997E}"/>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ABB70CF7-149B-DBBF-BB55-2D012AD475E2}"/>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97B9A4F4-41AB-8FA4-7C9F-639451D20DBC}"/>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A871FC1B-C851-096F-7B54-CAEECC798060}"/>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47" name="Graphic 4">
            <a:extLst>
              <a:ext uri="{FF2B5EF4-FFF2-40B4-BE49-F238E27FC236}">
                <a16:creationId xmlns:a16="http://schemas.microsoft.com/office/drawing/2014/main" id="{BB977D54-F017-BF56-2B5B-2EEDF5CCAF2A}"/>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spTree>
    <p:extLst>
      <p:ext uri="{BB962C8B-B14F-4D97-AF65-F5344CB8AC3E}">
        <p14:creationId xmlns:p14="http://schemas.microsoft.com/office/powerpoint/2010/main" val="176750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5">
            <a:extLst>
              <a:ext uri="{FF2B5EF4-FFF2-40B4-BE49-F238E27FC236}">
                <a16:creationId xmlns:a16="http://schemas.microsoft.com/office/drawing/2014/main" id="{4BC06D49-B932-A6E2-4CC8-99D35AE97793}"/>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GB"/>
              <a:t>Challenge – What to Do</a:t>
            </a:r>
          </a:p>
        </p:txBody>
      </p:sp>
      <p:sp>
        <p:nvSpPr>
          <p:cNvPr id="54" name="Title 2">
            <a:extLst>
              <a:ext uri="{FF2B5EF4-FFF2-40B4-BE49-F238E27FC236}">
                <a16:creationId xmlns:a16="http://schemas.microsoft.com/office/drawing/2014/main" id="{8591533F-8F5B-AE3D-4435-FCD078BB1D5B}"/>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a:t>Deloitte Tech Experience</a:t>
            </a:r>
          </a:p>
        </p:txBody>
      </p:sp>
      <p:sp>
        <p:nvSpPr>
          <p:cNvPr id="8" name="Rectangle: Rounded Corners 7">
            <a:extLst>
              <a:ext uri="{FF2B5EF4-FFF2-40B4-BE49-F238E27FC236}">
                <a16:creationId xmlns:a16="http://schemas.microsoft.com/office/drawing/2014/main" id="{EC502022-E2AF-5743-CC68-1720054A2168}"/>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aphic 1100">
            <a:extLst>
              <a:ext uri="{FF2B5EF4-FFF2-40B4-BE49-F238E27FC236}">
                <a16:creationId xmlns:a16="http://schemas.microsoft.com/office/drawing/2014/main" id="{8472600E-ACDD-EEAC-9F3C-9793D0537DAE}"/>
              </a:ext>
            </a:extLst>
          </p:cNvPr>
          <p:cNvGrpSpPr>
            <a:grpSpLocks noChangeAspect="1"/>
          </p:cNvGrpSpPr>
          <p:nvPr/>
        </p:nvGrpSpPr>
        <p:grpSpPr>
          <a:xfrm>
            <a:off x="447688" y="5314360"/>
            <a:ext cx="263402" cy="360000"/>
            <a:chOff x="5810369" y="1478218"/>
            <a:chExt cx="159748" cy="218332"/>
          </a:xfrm>
          <a:solidFill>
            <a:schemeClr val="bg1"/>
          </a:solidFill>
        </p:grpSpPr>
        <p:sp>
          <p:nvSpPr>
            <p:cNvPr id="11" name="Graphic 1100">
              <a:extLst>
                <a:ext uri="{FF2B5EF4-FFF2-40B4-BE49-F238E27FC236}">
                  <a16:creationId xmlns:a16="http://schemas.microsoft.com/office/drawing/2014/main" id="{76DE2730-9CBE-A6C1-1614-A85967D26008}"/>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2" name="Graphic 1100">
              <a:extLst>
                <a:ext uri="{FF2B5EF4-FFF2-40B4-BE49-F238E27FC236}">
                  <a16:creationId xmlns:a16="http://schemas.microsoft.com/office/drawing/2014/main" id="{A4BB9CB9-CBA4-2B03-FDBC-E90B0ECB429C}"/>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E805831-F061-FDD2-9E33-5493C4188EF8}"/>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F73F5023-BD11-9A27-FEFA-FBFC42EF346F}"/>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pic>
        <p:nvPicPr>
          <p:cNvPr id="15" name="Graphic 14" descr="Upward trend with solid fill">
            <a:extLst>
              <a:ext uri="{FF2B5EF4-FFF2-40B4-BE49-F238E27FC236}">
                <a16:creationId xmlns:a16="http://schemas.microsoft.com/office/drawing/2014/main" id="{6661C7FF-05A1-6457-C68C-514DAC8BE5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8971" y="774249"/>
            <a:ext cx="396000" cy="396000"/>
          </a:xfrm>
          <a:prstGeom prst="rect">
            <a:avLst/>
          </a:prstGeom>
        </p:spPr>
      </p:pic>
      <p:grpSp>
        <p:nvGrpSpPr>
          <p:cNvPr id="17" name="Graphic 4">
            <a:extLst>
              <a:ext uri="{FF2B5EF4-FFF2-40B4-BE49-F238E27FC236}">
                <a16:creationId xmlns:a16="http://schemas.microsoft.com/office/drawing/2014/main" id="{2BDD5D07-063B-EE4B-225A-7F839C64C9B6}"/>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18" name="Graphic 4">
              <a:extLst>
                <a:ext uri="{FF2B5EF4-FFF2-40B4-BE49-F238E27FC236}">
                  <a16:creationId xmlns:a16="http://schemas.microsoft.com/office/drawing/2014/main" id="{CDCE3B5B-BE99-B009-F995-6038CB69917B}"/>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8E68F082-428E-4044-55FC-0D8A2FFD9D4E}"/>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56246585-ECDD-4D71-92C4-23434F770F57}"/>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8F74C2FF-2E18-7FC5-9A40-4B0E5F0819FC}"/>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61BBF24E-AF2F-D218-91D6-2A32840ADC8D}"/>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23" name="Graphic 4">
            <a:extLst>
              <a:ext uri="{FF2B5EF4-FFF2-40B4-BE49-F238E27FC236}">
                <a16:creationId xmlns:a16="http://schemas.microsoft.com/office/drawing/2014/main" id="{F789BFF4-9E20-AE1D-43CB-896140284091}"/>
              </a:ext>
            </a:extLst>
          </p:cNvPr>
          <p:cNvGrpSpPr>
            <a:grpSpLocks noChangeAspect="1"/>
          </p:cNvGrpSpPr>
          <p:nvPr/>
        </p:nvGrpSpPr>
        <p:grpSpPr>
          <a:xfrm>
            <a:off x="421294" y="952548"/>
            <a:ext cx="287999" cy="276915"/>
            <a:chOff x="1573681" y="2918430"/>
            <a:chExt cx="246172" cy="236696"/>
          </a:xfrm>
          <a:solidFill>
            <a:schemeClr val="accent1">
              <a:lumMod val="40000"/>
              <a:lumOff val="60000"/>
            </a:schemeClr>
          </a:solidFill>
        </p:grpSpPr>
        <p:sp>
          <p:nvSpPr>
            <p:cNvPr id="24" name="Graphic 4">
              <a:extLst>
                <a:ext uri="{FF2B5EF4-FFF2-40B4-BE49-F238E27FC236}">
                  <a16:creationId xmlns:a16="http://schemas.microsoft.com/office/drawing/2014/main" id="{84249BE1-1E81-1F85-AB1A-27ABA4EFE159}"/>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7005CE9-0BC4-F588-5C27-2404980E9CDD}"/>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6413D177-F182-0A2F-35ED-E872D181550F}"/>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4C6A660E-8CCD-2C15-06C3-7A1DB0AB089C}"/>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32F59DD7-BF88-64CF-13D5-1326BC81EB4E}"/>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0D6409FE-3D80-A48E-B7FF-59219E4C48BD}"/>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grpSp>
        <p:nvGrpSpPr>
          <p:cNvPr id="46" name="Graphic 1100">
            <a:extLst>
              <a:ext uri="{FF2B5EF4-FFF2-40B4-BE49-F238E27FC236}">
                <a16:creationId xmlns:a16="http://schemas.microsoft.com/office/drawing/2014/main" id="{28D7ABFE-508F-5931-4511-21073025E1ED}"/>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55" name="Graphic 1100">
              <a:extLst>
                <a:ext uri="{FF2B5EF4-FFF2-40B4-BE49-F238E27FC236}">
                  <a16:creationId xmlns:a16="http://schemas.microsoft.com/office/drawing/2014/main" id="{351245EA-0E43-8750-F85B-81114C1404C0}"/>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DD821F6D-8DC0-CA5B-5149-9D9CC9A25408}"/>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7B4C0F7B-BDB7-1A7E-F78E-6FCEFB8194E7}"/>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AD09DA25-6A08-85A1-4D86-BBFD1ED50EE4}"/>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59" name="Graphic 4">
            <a:extLst>
              <a:ext uri="{FF2B5EF4-FFF2-40B4-BE49-F238E27FC236}">
                <a16:creationId xmlns:a16="http://schemas.microsoft.com/office/drawing/2014/main" id="{E60C3536-267B-1F5A-C467-864B61685E10}"/>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60" name="Graphic 4">
              <a:extLst>
                <a:ext uri="{FF2B5EF4-FFF2-40B4-BE49-F238E27FC236}">
                  <a16:creationId xmlns:a16="http://schemas.microsoft.com/office/drawing/2014/main" id="{0F33165E-E824-37EE-E2E1-57731D64E075}"/>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3BBC5F16-0D75-857C-915F-B51478D3502B}"/>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3" name="Graphic 4">
              <a:extLst>
                <a:ext uri="{FF2B5EF4-FFF2-40B4-BE49-F238E27FC236}">
                  <a16:creationId xmlns:a16="http://schemas.microsoft.com/office/drawing/2014/main" id="{DF4F30BD-7DA1-2FBB-F875-5E1292F2BA45}"/>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2F302547-FEA0-9247-238C-7ADD576E8CE3}"/>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6" name="Graphic 4">
              <a:extLst>
                <a:ext uri="{FF2B5EF4-FFF2-40B4-BE49-F238E27FC236}">
                  <a16:creationId xmlns:a16="http://schemas.microsoft.com/office/drawing/2014/main" id="{EA44D515-B7B2-66C7-B0E5-B5481CC90DE0}"/>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7" name="Graphic 4">
              <a:extLst>
                <a:ext uri="{FF2B5EF4-FFF2-40B4-BE49-F238E27FC236}">
                  <a16:creationId xmlns:a16="http://schemas.microsoft.com/office/drawing/2014/main" id="{0110C711-6BC3-E9A9-69F2-BB33CA0FE6A3}"/>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pic>
        <p:nvPicPr>
          <p:cNvPr id="69" name="Graphic 68" descr="Upward trend with solid fill">
            <a:extLst>
              <a:ext uri="{FF2B5EF4-FFF2-40B4-BE49-F238E27FC236}">
                <a16:creationId xmlns:a16="http://schemas.microsoft.com/office/drawing/2014/main" id="{29546FE6-59F6-595E-1A92-A528EC5B00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9163" y="1831574"/>
            <a:ext cx="324000" cy="324000"/>
          </a:xfrm>
          <a:prstGeom prst="rect">
            <a:avLst/>
          </a:prstGeom>
        </p:spPr>
      </p:pic>
      <p:sp>
        <p:nvSpPr>
          <p:cNvPr id="70" name="Rectangle: Rounded Corners 69">
            <a:extLst>
              <a:ext uri="{FF2B5EF4-FFF2-40B4-BE49-F238E27FC236}">
                <a16:creationId xmlns:a16="http://schemas.microsoft.com/office/drawing/2014/main" id="{C00554D9-82A9-A7C7-C2F9-D0D165CB20AF}"/>
              </a:ext>
            </a:extLst>
          </p:cNvPr>
          <p:cNvSpPr/>
          <p:nvPr/>
        </p:nvSpPr>
        <p:spPr>
          <a:xfrm>
            <a:off x="374072" y="2515756"/>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1" name="Graphic 4">
            <a:extLst>
              <a:ext uri="{FF2B5EF4-FFF2-40B4-BE49-F238E27FC236}">
                <a16:creationId xmlns:a16="http://schemas.microsoft.com/office/drawing/2014/main" id="{3F21833E-39C3-DB73-9EE1-5B34070482DA}"/>
              </a:ext>
            </a:extLst>
          </p:cNvPr>
          <p:cNvSpPr>
            <a:spLocks noChangeAspect="1"/>
          </p:cNvSpPr>
          <p:nvPr/>
        </p:nvSpPr>
        <p:spPr>
          <a:xfrm>
            <a:off x="418372" y="2662034"/>
            <a:ext cx="396000" cy="396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bg1"/>
          </a:solidFill>
          <a:ln w="3373"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E1B9723C-B7D4-E4CC-A172-967CC19B9076}"/>
              </a:ext>
            </a:extLst>
          </p:cNvPr>
          <p:cNvSpPr/>
          <p:nvPr/>
        </p:nvSpPr>
        <p:spPr bwMode="gray">
          <a:xfrm>
            <a:off x="4665626" y="1519477"/>
            <a:ext cx="3400799" cy="2047605"/>
          </a:xfrm>
          <a:prstGeom prst="rect">
            <a:avLst/>
          </a:prstGeom>
          <a:ln w="6350">
            <a:solidFill>
              <a:srgbClr val="92D050"/>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just">
              <a:lnSpc>
                <a:spcPct val="106000"/>
              </a:lnSpc>
              <a:buFont typeface="Wingdings 2" pitchFamily="18" charset="2"/>
              <a:buNone/>
            </a:pPr>
            <a:r>
              <a:rPr lang="en-US" sz="1100">
                <a:solidFill>
                  <a:schemeClr val="tx1"/>
                </a:solidFill>
              </a:rPr>
              <a:t>Develop the </a:t>
            </a:r>
            <a:r>
              <a:rPr lang="en-US" sz="1100" b="1" err="1">
                <a:solidFill>
                  <a:schemeClr val="tx1"/>
                </a:solidFill>
              </a:rPr>
              <a:t>EcoGuide</a:t>
            </a:r>
            <a:r>
              <a:rPr lang="en-US" sz="1100" b="1">
                <a:solidFill>
                  <a:schemeClr val="tx1"/>
                </a:solidFill>
              </a:rPr>
              <a:t> Chatbot</a:t>
            </a:r>
            <a:r>
              <a:rPr lang="en-US" sz="1100">
                <a:solidFill>
                  <a:schemeClr val="tx1"/>
                </a:solidFill>
              </a:rPr>
              <a:t> using a </a:t>
            </a:r>
            <a:r>
              <a:rPr lang="en-US" sz="1100" b="1">
                <a:solidFill>
                  <a:schemeClr val="tx1"/>
                </a:solidFill>
              </a:rPr>
              <a:t>RAG</a:t>
            </a:r>
            <a:r>
              <a:rPr lang="en-US" sz="1100">
                <a:solidFill>
                  <a:schemeClr val="tx1"/>
                </a:solidFill>
              </a:rPr>
              <a:t> </a:t>
            </a:r>
            <a:r>
              <a:rPr lang="en-US" sz="1100" b="1">
                <a:solidFill>
                  <a:schemeClr val="tx1"/>
                </a:solidFill>
              </a:rPr>
              <a:t>architecture</a:t>
            </a:r>
            <a:r>
              <a:rPr lang="en-US" sz="1100">
                <a:solidFill>
                  <a:schemeClr val="tx1"/>
                </a:solidFill>
              </a:rPr>
              <a:t> that uses a knowledge base with climate change articles to deliver accurate and personalized climate change information.</a:t>
            </a:r>
            <a:endParaRPr lang="pt-PT" sz="1100">
              <a:solidFill>
                <a:schemeClr val="tx1"/>
              </a:solidFill>
            </a:endParaRPr>
          </a:p>
        </p:txBody>
      </p:sp>
      <p:sp>
        <p:nvSpPr>
          <p:cNvPr id="30" name="TextBox 29">
            <a:extLst>
              <a:ext uri="{FF2B5EF4-FFF2-40B4-BE49-F238E27FC236}">
                <a16:creationId xmlns:a16="http://schemas.microsoft.com/office/drawing/2014/main" id="{D6378856-E84A-2EA1-FFD1-4D04C1DA25D6}"/>
              </a:ext>
            </a:extLst>
          </p:cNvPr>
          <p:cNvSpPr txBox="1"/>
          <p:nvPr/>
        </p:nvSpPr>
        <p:spPr>
          <a:xfrm>
            <a:off x="5231443" y="1410599"/>
            <a:ext cx="2227153" cy="215444"/>
          </a:xfrm>
          <a:prstGeom prst="rect">
            <a:avLst/>
          </a:prstGeom>
          <a:solidFill>
            <a:schemeClr val="bg1"/>
          </a:solidFill>
        </p:spPr>
        <p:txBody>
          <a:bodyPr wrap="square" lIns="0" tIns="0" rIns="0" bIns="0" rtlCol="0" anchor="ctr">
            <a:spAutoFit/>
          </a:bodyPr>
          <a:lstStyle/>
          <a:p>
            <a:pPr algn="ctr">
              <a:spcBef>
                <a:spcPts val="600"/>
              </a:spcBef>
              <a:buSzPct val="100000"/>
            </a:pPr>
            <a:r>
              <a:rPr lang="en-US" sz="1400">
                <a:solidFill>
                  <a:srgbClr val="313131"/>
                </a:solidFill>
              </a:rPr>
              <a:t>Challenge Overview</a:t>
            </a:r>
          </a:p>
        </p:txBody>
      </p:sp>
      <p:sp>
        <p:nvSpPr>
          <p:cNvPr id="3" name="Rectangle 2">
            <a:extLst>
              <a:ext uri="{FF2B5EF4-FFF2-40B4-BE49-F238E27FC236}">
                <a16:creationId xmlns:a16="http://schemas.microsoft.com/office/drawing/2014/main" id="{BB6EA501-F6AE-FC6A-D296-2C77B9A81D97}"/>
              </a:ext>
            </a:extLst>
          </p:cNvPr>
          <p:cNvSpPr/>
          <p:nvPr/>
        </p:nvSpPr>
        <p:spPr bwMode="gray">
          <a:xfrm>
            <a:off x="4665626" y="3676935"/>
            <a:ext cx="3400799" cy="1661551"/>
          </a:xfrm>
          <a:prstGeom prst="rect">
            <a:avLst/>
          </a:prstGeom>
          <a:ln w="6350">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342900" indent="-342900" algn="just">
              <a:lnSpc>
                <a:spcPct val="106000"/>
              </a:lnSpc>
              <a:buClr>
                <a:srgbClr val="18893E"/>
              </a:buClr>
              <a:buFont typeface="+mj-lt"/>
              <a:buAutoNum type="arabicParenR"/>
            </a:pPr>
            <a:r>
              <a:rPr lang="en-US" sz="1100" b="1" dirty="0">
                <a:solidFill>
                  <a:schemeClr val="tx1"/>
                </a:solidFill>
              </a:rPr>
              <a:t>Answer questions </a:t>
            </a:r>
            <a:r>
              <a:rPr lang="en-US" sz="1100" dirty="0">
                <a:solidFill>
                  <a:schemeClr val="tx1"/>
                </a:solidFill>
              </a:rPr>
              <a:t>made by the user using the information available in the provided scientific reports, articles, and papers;</a:t>
            </a:r>
          </a:p>
          <a:p>
            <a:pPr marL="342900" indent="-342900" algn="just">
              <a:lnSpc>
                <a:spcPct val="106000"/>
              </a:lnSpc>
              <a:buClr>
                <a:srgbClr val="18893E"/>
              </a:buClr>
              <a:buFont typeface="+mj-lt"/>
              <a:buAutoNum type="arabicParenR"/>
            </a:pPr>
            <a:r>
              <a:rPr lang="en-US" sz="1100" b="1" dirty="0">
                <a:solidFill>
                  <a:schemeClr val="tx1"/>
                </a:solidFill>
              </a:rPr>
              <a:t>Make personalized </a:t>
            </a:r>
            <a:r>
              <a:rPr lang="en-US" sz="1100" b="1" dirty="0" err="1">
                <a:solidFill>
                  <a:schemeClr val="tx1"/>
                </a:solidFill>
              </a:rPr>
              <a:t>recommen</a:t>
            </a:r>
            <a:r>
              <a:rPr lang="en-US" sz="1100" b="1" dirty="0">
                <a:solidFill>
                  <a:schemeClr val="tx1"/>
                </a:solidFill>
              </a:rPr>
              <a:t>-dations </a:t>
            </a:r>
            <a:r>
              <a:rPr lang="en-US" sz="1100" dirty="0">
                <a:solidFill>
                  <a:schemeClr val="tx1"/>
                </a:solidFill>
              </a:rPr>
              <a:t>for sustainable practices and eco-friendly products.​</a:t>
            </a:r>
            <a:endParaRPr lang="en-US" sz="1100" dirty="0">
              <a:solidFill>
                <a:schemeClr val="tx1"/>
              </a:solidFill>
              <a:ea typeface="Verdana"/>
            </a:endParaRPr>
          </a:p>
        </p:txBody>
      </p:sp>
      <p:sp>
        <p:nvSpPr>
          <p:cNvPr id="31" name="TextBox 30">
            <a:extLst>
              <a:ext uri="{FF2B5EF4-FFF2-40B4-BE49-F238E27FC236}">
                <a16:creationId xmlns:a16="http://schemas.microsoft.com/office/drawing/2014/main" id="{0210C825-BAF2-19C5-AF72-4AC60837E819}"/>
              </a:ext>
            </a:extLst>
          </p:cNvPr>
          <p:cNvSpPr txBox="1"/>
          <p:nvPr/>
        </p:nvSpPr>
        <p:spPr>
          <a:xfrm>
            <a:off x="5200918" y="3576903"/>
            <a:ext cx="2227153" cy="215444"/>
          </a:xfrm>
          <a:prstGeom prst="rect">
            <a:avLst/>
          </a:prstGeom>
          <a:solidFill>
            <a:schemeClr val="bg1"/>
          </a:solidFill>
        </p:spPr>
        <p:txBody>
          <a:bodyPr wrap="square" lIns="0" tIns="0" rIns="0" bIns="0" rtlCol="0" anchor="ctr">
            <a:spAutoFit/>
          </a:bodyPr>
          <a:lstStyle/>
          <a:p>
            <a:pPr algn="ctr">
              <a:spcBef>
                <a:spcPts val="600"/>
              </a:spcBef>
              <a:buSzPct val="100000"/>
            </a:pPr>
            <a:r>
              <a:rPr lang="en-US" sz="1400">
                <a:solidFill>
                  <a:srgbClr val="313131"/>
                </a:solidFill>
              </a:rPr>
              <a:t>Challenge Tasks</a:t>
            </a:r>
          </a:p>
        </p:txBody>
      </p:sp>
      <p:sp>
        <p:nvSpPr>
          <p:cNvPr id="16" name="Rectangle 15">
            <a:extLst>
              <a:ext uri="{FF2B5EF4-FFF2-40B4-BE49-F238E27FC236}">
                <a16:creationId xmlns:a16="http://schemas.microsoft.com/office/drawing/2014/main" id="{1CD78964-8406-4382-3116-940F0C7EA2C2}"/>
              </a:ext>
            </a:extLst>
          </p:cNvPr>
          <p:cNvSpPr/>
          <p:nvPr/>
        </p:nvSpPr>
        <p:spPr bwMode="gray">
          <a:xfrm>
            <a:off x="8173050" y="3676936"/>
            <a:ext cx="3417092" cy="1661551"/>
          </a:xfrm>
          <a:prstGeom prst="rect">
            <a:avLst/>
          </a:prstGeom>
          <a:ln w="6350">
            <a:solidFill>
              <a:srgbClr val="0070C0"/>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171450" lvl="1" indent="-171450" algn="just">
              <a:spcAft>
                <a:spcPts val="600"/>
              </a:spcAft>
              <a:buClr>
                <a:srgbClr val="0070C0"/>
              </a:buClr>
              <a:buFont typeface="Verdana" panose="020B0604030504040204" pitchFamily="34" charset="0"/>
              <a:buChar char="»"/>
            </a:pPr>
            <a:r>
              <a:rPr lang="en-US" sz="1100" dirty="0">
                <a:solidFill>
                  <a:schemeClr val="tx1"/>
                </a:solidFill>
              </a:rPr>
              <a:t>Responsive and intuitive chatbot interface</a:t>
            </a:r>
          </a:p>
          <a:p>
            <a:pPr marL="171450" lvl="1" indent="-171450" algn="just">
              <a:spcAft>
                <a:spcPts val="600"/>
              </a:spcAft>
              <a:buClr>
                <a:srgbClr val="0070C0"/>
              </a:buClr>
              <a:buFont typeface="Verdana" panose="020B0604030504040204" pitchFamily="34" charset="0"/>
              <a:buChar char="»"/>
            </a:pPr>
            <a:r>
              <a:rPr lang="en-US" sz="1100" dirty="0">
                <a:solidFill>
                  <a:schemeClr val="tx1"/>
                </a:solidFill>
              </a:rPr>
              <a:t>Answer questions whose answers are in images within the provided documents</a:t>
            </a:r>
            <a:endParaRPr lang="en-US" sz="1100" dirty="0">
              <a:solidFill>
                <a:schemeClr val="tx1"/>
              </a:solidFill>
              <a:ea typeface="Verdana"/>
            </a:endParaRPr>
          </a:p>
          <a:p>
            <a:pPr marL="171450" lvl="1" indent="-171450" algn="just">
              <a:spcAft>
                <a:spcPts val="600"/>
              </a:spcAft>
              <a:buClr>
                <a:srgbClr val="0070C0"/>
              </a:buClr>
              <a:buFont typeface="Verdana" panose="020B0604030504040204" pitchFamily="34" charset="0"/>
              <a:buChar char="»"/>
            </a:pPr>
            <a:r>
              <a:rPr lang="en-US" sz="1100" dirty="0">
                <a:solidFill>
                  <a:schemeClr val="tx1"/>
                </a:solidFill>
              </a:rPr>
              <a:t>Use as input documentation other formats besides PDFs</a:t>
            </a:r>
            <a:endParaRPr lang="en-US" sz="1100" dirty="0">
              <a:solidFill>
                <a:schemeClr val="tx1"/>
              </a:solidFill>
              <a:ea typeface="Verdana"/>
            </a:endParaRPr>
          </a:p>
          <a:p>
            <a:pPr marL="171450" lvl="1" indent="-171450" algn="just">
              <a:spcAft>
                <a:spcPts val="600"/>
              </a:spcAft>
              <a:buClr>
                <a:srgbClr val="0070C0"/>
              </a:buClr>
              <a:buFont typeface="Verdana" panose="020B0604030504040204" pitchFamily="34" charset="0"/>
              <a:buChar char="»"/>
            </a:pPr>
            <a:r>
              <a:rPr lang="en-US" sz="1100" dirty="0">
                <a:solidFill>
                  <a:schemeClr val="tx1"/>
                </a:solidFill>
              </a:rPr>
              <a:t>Identify and reference the source documents used to answer each question</a:t>
            </a:r>
            <a:endParaRPr lang="en-US" sz="1100" dirty="0">
              <a:solidFill>
                <a:schemeClr val="tx1"/>
              </a:solidFill>
              <a:ea typeface="Verdana"/>
            </a:endParaRPr>
          </a:p>
        </p:txBody>
      </p:sp>
      <p:sp>
        <p:nvSpPr>
          <p:cNvPr id="32" name="TextBox 31">
            <a:extLst>
              <a:ext uri="{FF2B5EF4-FFF2-40B4-BE49-F238E27FC236}">
                <a16:creationId xmlns:a16="http://schemas.microsoft.com/office/drawing/2014/main" id="{9E43A9CF-4CC5-AA38-4669-0720C71BBFEB}"/>
              </a:ext>
            </a:extLst>
          </p:cNvPr>
          <p:cNvSpPr txBox="1"/>
          <p:nvPr/>
        </p:nvSpPr>
        <p:spPr>
          <a:xfrm>
            <a:off x="8823141" y="3567372"/>
            <a:ext cx="2086726" cy="215444"/>
          </a:xfrm>
          <a:prstGeom prst="rect">
            <a:avLst/>
          </a:prstGeom>
          <a:solidFill>
            <a:schemeClr val="bg1"/>
          </a:solidFill>
        </p:spPr>
        <p:txBody>
          <a:bodyPr wrap="square" lIns="0" tIns="0" rIns="0" bIns="0" rtlCol="0" anchor="ctr">
            <a:spAutoFit/>
          </a:bodyPr>
          <a:lstStyle/>
          <a:p>
            <a:pPr algn="ctr">
              <a:spcBef>
                <a:spcPts val="600"/>
              </a:spcBef>
              <a:buSzPct val="100000"/>
            </a:pPr>
            <a:r>
              <a:rPr lang="en-US" sz="1400">
                <a:solidFill>
                  <a:srgbClr val="313131"/>
                </a:solidFill>
              </a:rPr>
              <a:t>Excellence Takeaways</a:t>
            </a:r>
          </a:p>
        </p:txBody>
      </p:sp>
      <p:pic>
        <p:nvPicPr>
          <p:cNvPr id="34" name="Picture 33" descr="A computer on a desk&#10;&#10;Description automatically generated">
            <a:extLst>
              <a:ext uri="{FF2B5EF4-FFF2-40B4-BE49-F238E27FC236}">
                <a16:creationId xmlns:a16="http://schemas.microsoft.com/office/drawing/2014/main" id="{6E432119-7B8F-C6A5-F39D-4300879EE962}"/>
              </a:ext>
            </a:extLst>
          </p:cNvPr>
          <p:cNvPicPr>
            <a:picLocks noChangeAspect="1"/>
          </p:cNvPicPr>
          <p:nvPr/>
        </p:nvPicPr>
        <p:blipFill>
          <a:blip r:embed="rId7"/>
          <a:srcRect l="6603"/>
          <a:stretch/>
        </p:blipFill>
        <p:spPr>
          <a:xfrm>
            <a:off x="1342800" y="1519477"/>
            <a:ext cx="3260361" cy="3819009"/>
          </a:xfrm>
          <a:prstGeom prst="rect">
            <a:avLst/>
          </a:prstGeom>
        </p:spPr>
      </p:pic>
      <p:grpSp>
        <p:nvGrpSpPr>
          <p:cNvPr id="38" name="Group 37">
            <a:extLst>
              <a:ext uri="{FF2B5EF4-FFF2-40B4-BE49-F238E27FC236}">
                <a16:creationId xmlns:a16="http://schemas.microsoft.com/office/drawing/2014/main" id="{2DFE24FF-8D5A-8E77-B74F-0E81E8415CE4}"/>
              </a:ext>
            </a:extLst>
          </p:cNvPr>
          <p:cNvGrpSpPr/>
          <p:nvPr/>
        </p:nvGrpSpPr>
        <p:grpSpPr>
          <a:xfrm>
            <a:off x="4462243" y="5543833"/>
            <a:ext cx="3430628" cy="730740"/>
            <a:chOff x="1340501" y="5620319"/>
            <a:chExt cx="3430628" cy="730740"/>
          </a:xfrm>
        </p:grpSpPr>
        <p:sp>
          <p:nvSpPr>
            <p:cNvPr id="39" name="Parallelogram 38">
              <a:extLst>
                <a:ext uri="{FF2B5EF4-FFF2-40B4-BE49-F238E27FC236}">
                  <a16:creationId xmlns:a16="http://schemas.microsoft.com/office/drawing/2014/main" id="{4E54FB4F-707F-2AE0-7BE7-474ED48566A6}"/>
                </a:ext>
              </a:extLst>
            </p:cNvPr>
            <p:cNvSpPr/>
            <p:nvPr/>
          </p:nvSpPr>
          <p:spPr bwMode="gray">
            <a:xfrm>
              <a:off x="1650206" y="5784661"/>
              <a:ext cx="3120923" cy="331311"/>
            </a:xfrm>
            <a:prstGeom prst="parallelogram">
              <a:avLst/>
            </a:prstGeom>
            <a:solidFill>
              <a:srgbClr val="43B02A"/>
            </a:solidFill>
            <a:ln w="19050" algn="ctr">
              <a:noFill/>
              <a:miter lim="800000"/>
              <a:headEnd/>
              <a:tailEnd/>
            </a:ln>
          </p:spPr>
          <p:txBody>
            <a:bodyPr wrap="square" lIns="0" tIns="0" rIns="0" bIns="0" rtlCol="0" anchor="ctr"/>
            <a:lstStyle/>
            <a:p>
              <a:pPr algn="ctr"/>
              <a:endParaRPr lang="en-GB"/>
            </a:p>
          </p:txBody>
        </p:sp>
        <p:sp>
          <p:nvSpPr>
            <p:cNvPr id="40" name="Rectangle 39">
              <a:extLst>
                <a:ext uri="{FF2B5EF4-FFF2-40B4-BE49-F238E27FC236}">
                  <a16:creationId xmlns:a16="http://schemas.microsoft.com/office/drawing/2014/main" id="{784744F4-AB88-2D19-D977-67792E2D1BE5}"/>
                </a:ext>
              </a:extLst>
            </p:cNvPr>
            <p:cNvSpPr/>
            <p:nvPr/>
          </p:nvSpPr>
          <p:spPr bwMode="gray">
            <a:xfrm>
              <a:off x="2179632" y="5838322"/>
              <a:ext cx="2540616" cy="294734"/>
            </a:xfrm>
            <a:prstGeom prst="rect">
              <a:avLst/>
            </a:prstGeom>
            <a:noFill/>
            <a:ln w="19050" algn="ctr">
              <a:noFill/>
              <a:miter lim="800000"/>
              <a:headEnd/>
              <a:tailEnd/>
            </a:ln>
          </p:spPr>
          <p:txBody>
            <a:bodyPr wrap="square" lIns="0" tIns="0" rIns="0" bIns="0" rtlCol="0" anchor="t"/>
            <a:lstStyle/>
            <a:p>
              <a:pPr algn="just">
                <a:spcAft>
                  <a:spcPts val="600"/>
                </a:spcAft>
              </a:pPr>
              <a:r>
                <a:rPr lang="en-GB" sz="1400" b="1" spc="0">
                  <a:solidFill>
                    <a:schemeClr val="bg1"/>
                  </a:solidFill>
                  <a:latin typeface="Open Sans" panose="020B0606030504020204" pitchFamily="34" charset="0"/>
                  <a:ea typeface="Open Sans" panose="020B0606030504020204" pitchFamily="34" charset="0"/>
                  <a:cs typeface="Open Sans" panose="020B0606030504020204" pitchFamily="34" charset="0"/>
                </a:rPr>
                <a:t>Be creative and good luck!</a:t>
              </a:r>
              <a:endParaRPr lang="en-GB" sz="1400">
                <a:solidFill>
                  <a:schemeClr val="bg1"/>
                </a:solidFill>
              </a:endParaRPr>
            </a:p>
          </p:txBody>
        </p:sp>
        <p:pic>
          <p:nvPicPr>
            <p:cNvPr id="41" name="Picture 40">
              <a:extLst>
                <a:ext uri="{FF2B5EF4-FFF2-40B4-BE49-F238E27FC236}">
                  <a16:creationId xmlns:a16="http://schemas.microsoft.com/office/drawing/2014/main" id="{4EB1EAB1-8BA3-C2C7-EC80-A8ACCFAF70DB}"/>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340501" y="5620319"/>
              <a:ext cx="769200" cy="730740"/>
            </a:xfrm>
            <a:prstGeom prst="rect">
              <a:avLst/>
            </a:prstGeom>
          </p:spPr>
        </p:pic>
      </p:grpSp>
      <p:sp>
        <p:nvSpPr>
          <p:cNvPr id="4" name="TextBox 3">
            <a:extLst>
              <a:ext uri="{FF2B5EF4-FFF2-40B4-BE49-F238E27FC236}">
                <a16:creationId xmlns:a16="http://schemas.microsoft.com/office/drawing/2014/main" id="{D56D8E8F-6FAE-EBBE-00A5-6EBB4D1AF374}"/>
              </a:ext>
            </a:extLst>
          </p:cNvPr>
          <p:cNvSpPr txBox="1"/>
          <p:nvPr/>
        </p:nvSpPr>
        <p:spPr>
          <a:xfrm>
            <a:off x="2054980" y="5386638"/>
            <a:ext cx="1836000" cy="107722"/>
          </a:xfrm>
          <a:prstGeom prst="rect">
            <a:avLst/>
          </a:prstGeom>
          <a:noFill/>
        </p:spPr>
        <p:txBody>
          <a:bodyPr wrap="square" lIns="0" tIns="0" rIns="0" bIns="0" rtlCol="0">
            <a:spAutoFit/>
          </a:bodyPr>
          <a:lstStyle/>
          <a:p>
            <a:pPr algn="ctr">
              <a:spcBef>
                <a:spcPts val="600"/>
              </a:spcBef>
              <a:buSzPct val="100000"/>
            </a:pPr>
            <a:r>
              <a:rPr lang="pt-PT" sz="700" i="1" err="1">
                <a:solidFill>
                  <a:srgbClr val="313131"/>
                </a:solidFill>
              </a:rPr>
              <a:t>Image</a:t>
            </a:r>
            <a:r>
              <a:rPr lang="pt-PT" sz="700" i="1">
                <a:solidFill>
                  <a:srgbClr val="313131"/>
                </a:solidFill>
              </a:rPr>
              <a:t> </a:t>
            </a:r>
            <a:r>
              <a:rPr lang="pt-PT" sz="700" i="1" err="1">
                <a:solidFill>
                  <a:srgbClr val="313131"/>
                </a:solidFill>
              </a:rPr>
              <a:t>Generated</a:t>
            </a:r>
            <a:r>
              <a:rPr lang="pt-PT" sz="700" i="1">
                <a:solidFill>
                  <a:srgbClr val="313131"/>
                </a:solidFill>
              </a:rPr>
              <a:t> </a:t>
            </a:r>
            <a:r>
              <a:rPr lang="pt-PT" sz="700" i="1" err="1">
                <a:solidFill>
                  <a:srgbClr val="313131"/>
                </a:solidFill>
              </a:rPr>
              <a:t>with</a:t>
            </a:r>
            <a:r>
              <a:rPr lang="pt-PT" sz="700" i="1">
                <a:solidFill>
                  <a:srgbClr val="313131"/>
                </a:solidFill>
              </a:rPr>
              <a:t> </a:t>
            </a:r>
            <a:r>
              <a:rPr lang="pt-PT" sz="700" i="1" err="1">
                <a:solidFill>
                  <a:srgbClr val="313131"/>
                </a:solidFill>
              </a:rPr>
              <a:t>OpenArt</a:t>
            </a:r>
            <a:endParaRPr lang="pt-PT" sz="700" i="1">
              <a:solidFill>
                <a:srgbClr val="313131"/>
              </a:solidFill>
            </a:endParaRPr>
          </a:p>
        </p:txBody>
      </p:sp>
      <p:sp>
        <p:nvSpPr>
          <p:cNvPr id="7" name="Rectangle 6">
            <a:extLst>
              <a:ext uri="{FF2B5EF4-FFF2-40B4-BE49-F238E27FC236}">
                <a16:creationId xmlns:a16="http://schemas.microsoft.com/office/drawing/2014/main" id="{96181A5F-B810-E93D-15C9-49A936C6172B}"/>
              </a:ext>
            </a:extLst>
          </p:cNvPr>
          <p:cNvSpPr/>
          <p:nvPr/>
        </p:nvSpPr>
        <p:spPr bwMode="gray">
          <a:xfrm>
            <a:off x="8157958" y="1521067"/>
            <a:ext cx="3417092" cy="2046015"/>
          </a:xfrm>
          <a:prstGeom prst="rect">
            <a:avLst/>
          </a:prstGeom>
          <a:ln w="6350">
            <a:solidFill>
              <a:srgbClr val="62B5E5"/>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171450" lvl="1" indent="-171450" algn="just">
              <a:spcAft>
                <a:spcPts val="600"/>
              </a:spcAft>
              <a:buClr>
                <a:srgbClr val="00B0F0"/>
              </a:buClr>
              <a:buFont typeface="Verdana" panose="020B0604030504040204" pitchFamily="34" charset="0"/>
              <a:buChar char="»"/>
            </a:pPr>
            <a:r>
              <a:rPr lang="en-US" sz="1100" dirty="0">
                <a:solidFill>
                  <a:schemeClr val="tx1"/>
                </a:solidFill>
              </a:rPr>
              <a:t>Chatbot should be able to answer questions related to the text of the climate change documents (PDFs, HTML, DOCX)</a:t>
            </a:r>
          </a:p>
          <a:p>
            <a:pPr marL="171450" lvl="1" indent="-171450" algn="just">
              <a:spcAft>
                <a:spcPts val="600"/>
              </a:spcAft>
              <a:buClr>
                <a:srgbClr val="00B0F0"/>
              </a:buClr>
              <a:buFont typeface="Verdana" panose="020B0604030504040204" pitchFamily="34" charset="0"/>
              <a:buChar char="»"/>
            </a:pPr>
            <a:r>
              <a:rPr lang="en-US" sz="1100" dirty="0">
                <a:solidFill>
                  <a:schemeClr val="tx1"/>
                </a:solidFill>
              </a:rPr>
              <a:t>Chatbot should use the provided vector database FAISS</a:t>
            </a:r>
          </a:p>
          <a:p>
            <a:pPr marL="171450" lvl="1" indent="-171450" algn="just">
              <a:spcAft>
                <a:spcPts val="600"/>
              </a:spcAft>
              <a:buClr>
                <a:srgbClr val="00B0F0"/>
              </a:buClr>
              <a:buFont typeface="Verdana" panose="020B0604030504040204" pitchFamily="34" charset="0"/>
              <a:buChar char="»"/>
            </a:pPr>
            <a:r>
              <a:rPr lang="en-US" sz="1100" dirty="0">
                <a:solidFill>
                  <a:schemeClr val="tx1"/>
                </a:solidFill>
              </a:rPr>
              <a:t>Chatbot should have a frontend</a:t>
            </a:r>
            <a:endParaRPr lang="en-US" sz="1100" dirty="0">
              <a:solidFill>
                <a:schemeClr val="tx1"/>
              </a:solidFill>
              <a:ea typeface="Verdana"/>
            </a:endParaRPr>
          </a:p>
          <a:p>
            <a:pPr marL="171450" lvl="1" indent="-171450" algn="just">
              <a:spcAft>
                <a:spcPts val="600"/>
              </a:spcAft>
              <a:buClr>
                <a:srgbClr val="00B0F0"/>
              </a:buClr>
              <a:buFont typeface="Verdana" panose="020B0604030504040204" pitchFamily="34" charset="0"/>
              <a:buChar char="»"/>
            </a:pPr>
            <a:r>
              <a:rPr lang="en-US" sz="1100" dirty="0">
                <a:solidFill>
                  <a:schemeClr val="tx1"/>
                </a:solidFill>
                <a:ea typeface="Verdana"/>
              </a:rPr>
              <a:t>Chatbot </a:t>
            </a:r>
            <a:r>
              <a:rPr lang="en-US" sz="1100" dirty="0">
                <a:solidFill>
                  <a:schemeClr val="tx1"/>
                </a:solidFill>
              </a:rPr>
              <a:t>should</a:t>
            </a:r>
            <a:r>
              <a:rPr lang="en-US" sz="1100" dirty="0">
                <a:solidFill>
                  <a:schemeClr val="tx1"/>
                </a:solidFill>
                <a:ea typeface="Verdana"/>
              </a:rPr>
              <a:t> support follow-up questions (conversation history)</a:t>
            </a:r>
          </a:p>
          <a:p>
            <a:pPr marL="171450" lvl="1" indent="-171450" algn="just">
              <a:spcAft>
                <a:spcPts val="600"/>
              </a:spcAft>
              <a:buClr>
                <a:srgbClr val="00B0F0"/>
              </a:buClr>
              <a:buFont typeface="Verdana" panose="020B0604030504040204" pitchFamily="34" charset="0"/>
              <a:buChar char="»"/>
            </a:pPr>
            <a:r>
              <a:rPr lang="en-US" sz="1100" dirty="0">
                <a:solidFill>
                  <a:schemeClr val="tx1"/>
                </a:solidFill>
              </a:rPr>
              <a:t>Answers must be accurate and relevant</a:t>
            </a:r>
            <a:endParaRPr lang="en-US" sz="1100" dirty="0">
              <a:solidFill>
                <a:schemeClr val="tx1"/>
              </a:solidFill>
              <a:ea typeface="Verdana"/>
            </a:endParaRPr>
          </a:p>
        </p:txBody>
      </p:sp>
      <p:sp>
        <p:nvSpPr>
          <p:cNvPr id="9" name="TextBox 8">
            <a:extLst>
              <a:ext uri="{FF2B5EF4-FFF2-40B4-BE49-F238E27FC236}">
                <a16:creationId xmlns:a16="http://schemas.microsoft.com/office/drawing/2014/main" id="{0381418D-F6B4-487A-DA7E-B1DC0CBD11E6}"/>
              </a:ext>
            </a:extLst>
          </p:cNvPr>
          <p:cNvSpPr txBox="1"/>
          <p:nvPr/>
        </p:nvSpPr>
        <p:spPr>
          <a:xfrm>
            <a:off x="8823141" y="1413067"/>
            <a:ext cx="2086726" cy="216000"/>
          </a:xfrm>
          <a:prstGeom prst="rect">
            <a:avLst/>
          </a:prstGeom>
          <a:solidFill>
            <a:schemeClr val="bg1"/>
          </a:solidFill>
        </p:spPr>
        <p:txBody>
          <a:bodyPr wrap="square" lIns="0" tIns="0" rIns="0" bIns="0" rtlCol="0" anchor="ctr">
            <a:spAutoFit/>
          </a:bodyPr>
          <a:lstStyle/>
          <a:p>
            <a:pPr algn="ctr">
              <a:spcBef>
                <a:spcPts val="600"/>
              </a:spcBef>
              <a:buSzPct val="100000"/>
            </a:pPr>
            <a:r>
              <a:rPr lang="en-US" sz="1400">
                <a:solidFill>
                  <a:srgbClr val="313131"/>
                </a:solidFill>
              </a:rPr>
              <a:t>Minimal requirements</a:t>
            </a:r>
          </a:p>
        </p:txBody>
      </p:sp>
    </p:spTree>
    <p:extLst>
      <p:ext uri="{BB962C8B-B14F-4D97-AF65-F5344CB8AC3E}">
        <p14:creationId xmlns:p14="http://schemas.microsoft.com/office/powerpoint/2010/main" val="309481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5">
            <a:extLst>
              <a:ext uri="{FF2B5EF4-FFF2-40B4-BE49-F238E27FC236}">
                <a16:creationId xmlns:a16="http://schemas.microsoft.com/office/drawing/2014/main" id="{4BC06D49-B932-A6E2-4CC8-99D35AE97793}"/>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GB"/>
              <a:t>Challenge – Provided documents</a:t>
            </a:r>
          </a:p>
        </p:txBody>
      </p:sp>
      <p:sp>
        <p:nvSpPr>
          <p:cNvPr id="54" name="Title 2">
            <a:extLst>
              <a:ext uri="{FF2B5EF4-FFF2-40B4-BE49-F238E27FC236}">
                <a16:creationId xmlns:a16="http://schemas.microsoft.com/office/drawing/2014/main" id="{8591533F-8F5B-AE3D-4435-FCD078BB1D5B}"/>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a:t>Deloitte Tech Experience</a:t>
            </a:r>
          </a:p>
        </p:txBody>
      </p:sp>
      <p:sp>
        <p:nvSpPr>
          <p:cNvPr id="61" name="Content Placeholder 4">
            <a:extLst>
              <a:ext uri="{FF2B5EF4-FFF2-40B4-BE49-F238E27FC236}">
                <a16:creationId xmlns:a16="http://schemas.microsoft.com/office/drawing/2014/main" id="{367CD65C-ADAF-9EDE-D51C-A0505BB8B4B5}"/>
              </a:ext>
            </a:extLst>
          </p:cNvPr>
          <p:cNvSpPr txBox="1">
            <a:spLocks/>
          </p:cNvSpPr>
          <p:nvPr/>
        </p:nvSpPr>
        <p:spPr>
          <a:xfrm>
            <a:off x="1342260" y="1380041"/>
            <a:ext cx="9912642" cy="463391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tabLst>
                <a:tab pos="6705432" algn="r"/>
              </a:tabLst>
              <a:defRPr lang="en-US" sz="12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ct val="130000"/>
              </a:lnSpc>
              <a:spcAft>
                <a:spcPts val="600"/>
              </a:spcAft>
              <a:buClr>
                <a:schemeClr val="accent1"/>
              </a:buClr>
            </a:pPr>
            <a:r>
              <a:rPr lang="en-US" sz="1100" b="1" i="1"/>
              <a:t>The chatbot answers and recommendations must be based on a subset of documents. These following documents will be shared with you:</a:t>
            </a:r>
          </a:p>
          <a:p>
            <a:pPr marL="182563" indent="-182563">
              <a:lnSpc>
                <a:spcPct val="130000"/>
              </a:lnSpc>
              <a:spcAft>
                <a:spcPts val="600"/>
              </a:spcAft>
              <a:buClr>
                <a:schemeClr val="accent1"/>
              </a:buClr>
              <a:buFont typeface="Verdana" panose="020B0604030504040204" pitchFamily="34" charset="0"/>
              <a:buChar char="»"/>
            </a:pPr>
            <a:r>
              <a:rPr lang="en-US" sz="1100" i="1"/>
              <a:t>Corporate Standard Frequently Asked Questions </a:t>
            </a:r>
            <a:r>
              <a:rPr lang="en-US" sz="1100"/>
              <a:t>[HTML] – This document contains FAQs about the carbon emissions disclosure standards published by the Greenhouse Gas (GHG) Protocol.</a:t>
            </a:r>
          </a:p>
          <a:p>
            <a:pPr marL="182563" indent="-182563">
              <a:lnSpc>
                <a:spcPct val="130000"/>
              </a:lnSpc>
              <a:spcAft>
                <a:spcPts val="600"/>
              </a:spcAft>
              <a:buClr>
                <a:schemeClr val="accent1"/>
              </a:buClr>
              <a:buFont typeface="Verdana" panose="020B0604030504040204" pitchFamily="34" charset="0"/>
              <a:buChar char="»"/>
            </a:pPr>
            <a:endParaRPr lang="en-US" sz="500"/>
          </a:p>
          <a:p>
            <a:pPr marL="182563" indent="-182563">
              <a:lnSpc>
                <a:spcPct val="130000"/>
              </a:lnSpc>
              <a:spcAft>
                <a:spcPts val="600"/>
              </a:spcAft>
              <a:buClr>
                <a:schemeClr val="accent1"/>
              </a:buClr>
              <a:buFont typeface="Verdana" panose="020B0604030504040204" pitchFamily="34" charset="0"/>
              <a:buChar char="»"/>
            </a:pPr>
            <a:r>
              <a:rPr lang="en-US" sz="1100" i="1"/>
              <a:t>The Greenhouse Gas Protocol Corporate Accounting and Reporting Standard </a:t>
            </a:r>
            <a:r>
              <a:rPr lang="en-US" sz="1100"/>
              <a:t>[PDF] – This document provides a step-by-step guide for companies to use in quantifying and reporting their GHG emissions.</a:t>
            </a:r>
          </a:p>
          <a:p>
            <a:pPr marL="182563" indent="-182563">
              <a:lnSpc>
                <a:spcPct val="130000"/>
              </a:lnSpc>
              <a:spcAft>
                <a:spcPts val="600"/>
              </a:spcAft>
              <a:buClr>
                <a:schemeClr val="accent1"/>
              </a:buClr>
              <a:buFont typeface="Verdana" panose="020B0604030504040204" pitchFamily="34" charset="0"/>
              <a:buChar char="»"/>
            </a:pPr>
            <a:endParaRPr lang="en-US" sz="500"/>
          </a:p>
          <a:p>
            <a:pPr marL="182563" indent="-182563">
              <a:lnSpc>
                <a:spcPct val="130000"/>
              </a:lnSpc>
              <a:spcAft>
                <a:spcPts val="600"/>
              </a:spcAft>
              <a:buClr>
                <a:schemeClr val="accent1"/>
              </a:buClr>
              <a:buFont typeface="Verdana" panose="020B0604030504040204" pitchFamily="34" charset="0"/>
              <a:buChar char="»"/>
            </a:pPr>
            <a:r>
              <a:rPr lang="en-US" sz="1100" i="1"/>
              <a:t>Climate Action Tracker Decarbonizing light-duty vehicle road transport </a:t>
            </a:r>
            <a:r>
              <a:rPr lang="en-US" sz="1100"/>
              <a:t>[PDF] – This document provides updated 1.5ºC compatible benchmarks for the transport sector.</a:t>
            </a:r>
          </a:p>
          <a:p>
            <a:pPr>
              <a:lnSpc>
                <a:spcPct val="130000"/>
              </a:lnSpc>
              <a:spcAft>
                <a:spcPts val="600"/>
              </a:spcAft>
              <a:buClr>
                <a:schemeClr val="accent1"/>
              </a:buClr>
            </a:pPr>
            <a:endParaRPr lang="en-US" sz="500"/>
          </a:p>
          <a:p>
            <a:pPr marL="182563" indent="-182563">
              <a:lnSpc>
                <a:spcPct val="130000"/>
              </a:lnSpc>
              <a:spcAft>
                <a:spcPts val="600"/>
              </a:spcAft>
              <a:buClr>
                <a:schemeClr val="accent1"/>
              </a:buClr>
              <a:buFont typeface="Verdana" panose="020B0604030504040204" pitchFamily="34" charset="0"/>
              <a:buChar char="»"/>
            </a:pPr>
            <a:r>
              <a:rPr lang="en-US" sz="1100"/>
              <a:t> </a:t>
            </a:r>
            <a:r>
              <a:rPr lang="en-US" sz="1100" i="1"/>
              <a:t>Climate Change An Overview </a:t>
            </a:r>
            <a:r>
              <a:rPr lang="en-US" sz="1100"/>
              <a:t>[DOCX] – This document provides an outline of the issues around Climate Change and an analysis of the threats and challenges faced by indigenous people, UN agencies and others.</a:t>
            </a:r>
          </a:p>
          <a:p>
            <a:pPr marL="182563" indent="-182563">
              <a:lnSpc>
                <a:spcPct val="130000"/>
              </a:lnSpc>
              <a:spcAft>
                <a:spcPts val="600"/>
              </a:spcAft>
              <a:buClr>
                <a:schemeClr val="accent1"/>
              </a:buClr>
              <a:buFont typeface="Verdana" panose="020B0604030504040204" pitchFamily="34" charset="0"/>
              <a:buChar char="»"/>
            </a:pPr>
            <a:endParaRPr lang="en-US" sz="1100" i="1"/>
          </a:p>
          <a:p>
            <a:pPr marL="182563" indent="-182563">
              <a:lnSpc>
                <a:spcPct val="130000"/>
              </a:lnSpc>
              <a:spcAft>
                <a:spcPts val="600"/>
              </a:spcAft>
              <a:buClr>
                <a:schemeClr val="accent1"/>
              </a:buClr>
              <a:buFont typeface="Verdana" panose="020B0604030504040204" pitchFamily="34" charset="0"/>
              <a:buChar char="»"/>
            </a:pPr>
            <a:r>
              <a:rPr lang="en-US" sz="1100" i="1"/>
              <a:t>Sustainable Products </a:t>
            </a:r>
            <a:r>
              <a:rPr lang="en-US" sz="1100"/>
              <a:t>[CSV] – This documents provides a list of sustainable products, </a:t>
            </a:r>
            <a:r>
              <a:rPr lang="en-US" sz="1100">
                <a:solidFill>
                  <a:schemeClr val="tx1"/>
                </a:solidFill>
              </a:rPr>
              <a:t>eco-friendly products, and climate-related career opportunities.</a:t>
            </a:r>
            <a:endParaRPr lang="en-US" sz="1100" i="1"/>
          </a:p>
        </p:txBody>
      </p:sp>
      <p:sp>
        <p:nvSpPr>
          <p:cNvPr id="8" name="Rectangle: Rounded Corners 7">
            <a:extLst>
              <a:ext uri="{FF2B5EF4-FFF2-40B4-BE49-F238E27FC236}">
                <a16:creationId xmlns:a16="http://schemas.microsoft.com/office/drawing/2014/main" id="{EC502022-E2AF-5743-CC68-1720054A2168}"/>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aphic 1100">
            <a:extLst>
              <a:ext uri="{FF2B5EF4-FFF2-40B4-BE49-F238E27FC236}">
                <a16:creationId xmlns:a16="http://schemas.microsoft.com/office/drawing/2014/main" id="{8472600E-ACDD-EEAC-9F3C-9793D0537DAE}"/>
              </a:ext>
            </a:extLst>
          </p:cNvPr>
          <p:cNvGrpSpPr>
            <a:grpSpLocks noChangeAspect="1"/>
          </p:cNvGrpSpPr>
          <p:nvPr/>
        </p:nvGrpSpPr>
        <p:grpSpPr>
          <a:xfrm>
            <a:off x="447688" y="5314360"/>
            <a:ext cx="263402" cy="360000"/>
            <a:chOff x="5810369" y="1478218"/>
            <a:chExt cx="159748" cy="218332"/>
          </a:xfrm>
          <a:solidFill>
            <a:schemeClr val="bg1"/>
          </a:solidFill>
        </p:grpSpPr>
        <p:sp>
          <p:nvSpPr>
            <p:cNvPr id="11" name="Graphic 1100">
              <a:extLst>
                <a:ext uri="{FF2B5EF4-FFF2-40B4-BE49-F238E27FC236}">
                  <a16:creationId xmlns:a16="http://schemas.microsoft.com/office/drawing/2014/main" id="{76DE2730-9CBE-A6C1-1614-A85967D26008}"/>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2" name="Graphic 1100">
              <a:extLst>
                <a:ext uri="{FF2B5EF4-FFF2-40B4-BE49-F238E27FC236}">
                  <a16:creationId xmlns:a16="http://schemas.microsoft.com/office/drawing/2014/main" id="{A4BB9CB9-CBA4-2B03-FDBC-E90B0ECB429C}"/>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3" name="Graphic 1100">
              <a:extLst>
                <a:ext uri="{FF2B5EF4-FFF2-40B4-BE49-F238E27FC236}">
                  <a16:creationId xmlns:a16="http://schemas.microsoft.com/office/drawing/2014/main" id="{3E805831-F061-FDD2-9E33-5493C4188EF8}"/>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4" name="Graphic 1100">
              <a:extLst>
                <a:ext uri="{FF2B5EF4-FFF2-40B4-BE49-F238E27FC236}">
                  <a16:creationId xmlns:a16="http://schemas.microsoft.com/office/drawing/2014/main" id="{F73F5023-BD11-9A27-FEFA-FBFC42EF346F}"/>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pic>
        <p:nvPicPr>
          <p:cNvPr id="15" name="Graphic 14" descr="Upward trend with solid fill">
            <a:extLst>
              <a:ext uri="{FF2B5EF4-FFF2-40B4-BE49-F238E27FC236}">
                <a16:creationId xmlns:a16="http://schemas.microsoft.com/office/drawing/2014/main" id="{6661C7FF-05A1-6457-C68C-514DAC8BE5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8971" y="774249"/>
            <a:ext cx="396000" cy="396000"/>
          </a:xfrm>
          <a:prstGeom prst="rect">
            <a:avLst/>
          </a:prstGeom>
        </p:spPr>
      </p:pic>
      <p:grpSp>
        <p:nvGrpSpPr>
          <p:cNvPr id="17" name="Graphic 4">
            <a:extLst>
              <a:ext uri="{FF2B5EF4-FFF2-40B4-BE49-F238E27FC236}">
                <a16:creationId xmlns:a16="http://schemas.microsoft.com/office/drawing/2014/main" id="{2BDD5D07-063B-EE4B-225A-7F839C64C9B6}"/>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18" name="Graphic 4">
              <a:extLst>
                <a:ext uri="{FF2B5EF4-FFF2-40B4-BE49-F238E27FC236}">
                  <a16:creationId xmlns:a16="http://schemas.microsoft.com/office/drawing/2014/main" id="{CDCE3B5B-BE99-B009-F995-6038CB69917B}"/>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8E68F082-428E-4044-55FC-0D8A2FFD9D4E}"/>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56246585-ECDD-4D71-92C4-23434F770F57}"/>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8F74C2FF-2E18-7FC5-9A40-4B0E5F0819FC}"/>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61BBF24E-AF2F-D218-91D6-2A32840ADC8D}"/>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23" name="Graphic 4">
            <a:extLst>
              <a:ext uri="{FF2B5EF4-FFF2-40B4-BE49-F238E27FC236}">
                <a16:creationId xmlns:a16="http://schemas.microsoft.com/office/drawing/2014/main" id="{F789BFF4-9E20-AE1D-43CB-896140284091}"/>
              </a:ext>
            </a:extLst>
          </p:cNvPr>
          <p:cNvGrpSpPr>
            <a:grpSpLocks noChangeAspect="1"/>
          </p:cNvGrpSpPr>
          <p:nvPr/>
        </p:nvGrpSpPr>
        <p:grpSpPr>
          <a:xfrm>
            <a:off x="421294" y="952548"/>
            <a:ext cx="287999" cy="276915"/>
            <a:chOff x="1573681" y="2918430"/>
            <a:chExt cx="246172" cy="236696"/>
          </a:xfrm>
          <a:solidFill>
            <a:schemeClr val="accent1">
              <a:lumMod val="40000"/>
              <a:lumOff val="60000"/>
            </a:schemeClr>
          </a:solidFill>
        </p:grpSpPr>
        <p:sp>
          <p:nvSpPr>
            <p:cNvPr id="24" name="Graphic 4">
              <a:extLst>
                <a:ext uri="{FF2B5EF4-FFF2-40B4-BE49-F238E27FC236}">
                  <a16:creationId xmlns:a16="http://schemas.microsoft.com/office/drawing/2014/main" id="{84249BE1-1E81-1F85-AB1A-27ABA4EFE159}"/>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7005CE9-0BC4-F588-5C27-2404980E9CDD}"/>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6413D177-F182-0A2F-35ED-E872D181550F}"/>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4C6A660E-8CCD-2C15-06C3-7A1DB0AB089C}"/>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32F59DD7-BF88-64CF-13D5-1326BC81EB4E}"/>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0D6409FE-3D80-A48E-B7FF-59219E4C48BD}"/>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grpSp>
        <p:nvGrpSpPr>
          <p:cNvPr id="46" name="Graphic 1100">
            <a:extLst>
              <a:ext uri="{FF2B5EF4-FFF2-40B4-BE49-F238E27FC236}">
                <a16:creationId xmlns:a16="http://schemas.microsoft.com/office/drawing/2014/main" id="{28D7ABFE-508F-5931-4511-21073025E1ED}"/>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55" name="Graphic 1100">
              <a:extLst>
                <a:ext uri="{FF2B5EF4-FFF2-40B4-BE49-F238E27FC236}">
                  <a16:creationId xmlns:a16="http://schemas.microsoft.com/office/drawing/2014/main" id="{351245EA-0E43-8750-F85B-81114C1404C0}"/>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56" name="Graphic 1100">
              <a:extLst>
                <a:ext uri="{FF2B5EF4-FFF2-40B4-BE49-F238E27FC236}">
                  <a16:creationId xmlns:a16="http://schemas.microsoft.com/office/drawing/2014/main" id="{DD821F6D-8DC0-CA5B-5149-9D9CC9A25408}"/>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7" name="Graphic 1100">
              <a:extLst>
                <a:ext uri="{FF2B5EF4-FFF2-40B4-BE49-F238E27FC236}">
                  <a16:creationId xmlns:a16="http://schemas.microsoft.com/office/drawing/2014/main" id="{7B4C0F7B-BDB7-1A7E-F78E-6FCEFB8194E7}"/>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58" name="Graphic 1100">
              <a:extLst>
                <a:ext uri="{FF2B5EF4-FFF2-40B4-BE49-F238E27FC236}">
                  <a16:creationId xmlns:a16="http://schemas.microsoft.com/office/drawing/2014/main" id="{AD09DA25-6A08-85A1-4D86-BBFD1ED50EE4}"/>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59" name="Graphic 4">
            <a:extLst>
              <a:ext uri="{FF2B5EF4-FFF2-40B4-BE49-F238E27FC236}">
                <a16:creationId xmlns:a16="http://schemas.microsoft.com/office/drawing/2014/main" id="{E60C3536-267B-1F5A-C467-864B61685E10}"/>
              </a:ext>
            </a:extLst>
          </p:cNvPr>
          <p:cNvGrpSpPr>
            <a:grpSpLocks noChangeAspect="1"/>
          </p:cNvGrpSpPr>
          <p:nvPr/>
        </p:nvGrpSpPr>
        <p:grpSpPr>
          <a:xfrm>
            <a:off x="419857" y="3696998"/>
            <a:ext cx="288000" cy="191290"/>
            <a:chOff x="2626264" y="1990049"/>
            <a:chExt cx="230676" cy="153216"/>
          </a:xfrm>
          <a:solidFill>
            <a:schemeClr val="accent1">
              <a:lumMod val="40000"/>
              <a:lumOff val="60000"/>
            </a:schemeClr>
          </a:solidFill>
        </p:grpSpPr>
        <p:sp>
          <p:nvSpPr>
            <p:cNvPr id="60" name="Graphic 4">
              <a:extLst>
                <a:ext uri="{FF2B5EF4-FFF2-40B4-BE49-F238E27FC236}">
                  <a16:creationId xmlns:a16="http://schemas.microsoft.com/office/drawing/2014/main" id="{0F33165E-E824-37EE-E2E1-57731D64E075}"/>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3BBC5F16-0D75-857C-915F-B51478D3502B}"/>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3" name="Graphic 4">
              <a:extLst>
                <a:ext uri="{FF2B5EF4-FFF2-40B4-BE49-F238E27FC236}">
                  <a16:creationId xmlns:a16="http://schemas.microsoft.com/office/drawing/2014/main" id="{DF4F30BD-7DA1-2FBB-F875-5E1292F2BA45}"/>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2F302547-FEA0-9247-238C-7ADD576E8CE3}"/>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66" name="Graphic 4">
              <a:extLst>
                <a:ext uri="{FF2B5EF4-FFF2-40B4-BE49-F238E27FC236}">
                  <a16:creationId xmlns:a16="http://schemas.microsoft.com/office/drawing/2014/main" id="{EA44D515-B7B2-66C7-B0E5-B5481CC90DE0}"/>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67" name="Graphic 4">
              <a:extLst>
                <a:ext uri="{FF2B5EF4-FFF2-40B4-BE49-F238E27FC236}">
                  <a16:creationId xmlns:a16="http://schemas.microsoft.com/office/drawing/2014/main" id="{0110C711-6BC3-E9A9-69F2-BB33CA0FE6A3}"/>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pic>
        <p:nvPicPr>
          <p:cNvPr id="69" name="Graphic 68" descr="Upward trend with solid fill">
            <a:extLst>
              <a:ext uri="{FF2B5EF4-FFF2-40B4-BE49-F238E27FC236}">
                <a16:creationId xmlns:a16="http://schemas.microsoft.com/office/drawing/2014/main" id="{29546FE6-59F6-595E-1A92-A528EC5B00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9163" y="1831574"/>
            <a:ext cx="324000" cy="324000"/>
          </a:xfrm>
          <a:prstGeom prst="rect">
            <a:avLst/>
          </a:prstGeom>
        </p:spPr>
      </p:pic>
      <p:sp>
        <p:nvSpPr>
          <p:cNvPr id="70" name="Rectangle: Rounded Corners 69">
            <a:extLst>
              <a:ext uri="{FF2B5EF4-FFF2-40B4-BE49-F238E27FC236}">
                <a16:creationId xmlns:a16="http://schemas.microsoft.com/office/drawing/2014/main" id="{C00554D9-82A9-A7C7-C2F9-D0D165CB20AF}"/>
              </a:ext>
            </a:extLst>
          </p:cNvPr>
          <p:cNvSpPr/>
          <p:nvPr/>
        </p:nvSpPr>
        <p:spPr>
          <a:xfrm>
            <a:off x="374072" y="2515756"/>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1" name="Graphic 4">
            <a:extLst>
              <a:ext uri="{FF2B5EF4-FFF2-40B4-BE49-F238E27FC236}">
                <a16:creationId xmlns:a16="http://schemas.microsoft.com/office/drawing/2014/main" id="{3F21833E-39C3-DB73-9EE1-5B34070482DA}"/>
              </a:ext>
            </a:extLst>
          </p:cNvPr>
          <p:cNvSpPr>
            <a:spLocks noChangeAspect="1"/>
          </p:cNvSpPr>
          <p:nvPr/>
        </p:nvSpPr>
        <p:spPr>
          <a:xfrm>
            <a:off x="418372" y="2662034"/>
            <a:ext cx="396000" cy="396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bg1"/>
          </a:solidFill>
          <a:ln w="3373" cap="flat">
            <a:noFill/>
            <a:prstDash val="solid"/>
            <a:miter/>
          </a:ln>
        </p:spPr>
        <p:txBody>
          <a:bodyPr rtlCol="0" anchor="ctr"/>
          <a:lstStyle/>
          <a:p>
            <a:endParaRPr lang="en-US"/>
          </a:p>
        </p:txBody>
      </p:sp>
      <p:sp>
        <p:nvSpPr>
          <p:cNvPr id="2" name="Rectangle: Rounded Corners 1">
            <a:extLst>
              <a:ext uri="{FF2B5EF4-FFF2-40B4-BE49-F238E27FC236}">
                <a16:creationId xmlns:a16="http://schemas.microsoft.com/office/drawing/2014/main" id="{6D270CD0-C35C-362C-5B1A-D61153B4146B}"/>
              </a:ext>
            </a:extLst>
          </p:cNvPr>
          <p:cNvSpPr/>
          <p:nvPr/>
        </p:nvSpPr>
        <p:spPr>
          <a:xfrm>
            <a:off x="1341946" y="5267855"/>
            <a:ext cx="9702393" cy="405357"/>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Hint</a:t>
            </a:r>
            <a:r>
              <a:rPr lang="en-US" sz="1200"/>
              <a:t>: you will need to parse and extract text from each of these document types and load it as part of the knowledge base. You will be provided with some examples, but you can also use ChatGPT to help you build some other features</a:t>
            </a:r>
            <a:endParaRPr lang="en-US" sz="1400"/>
          </a:p>
        </p:txBody>
      </p:sp>
      <p:sp>
        <p:nvSpPr>
          <p:cNvPr id="3" name="Rectangle: Rounded Corners 2">
            <a:extLst>
              <a:ext uri="{FF2B5EF4-FFF2-40B4-BE49-F238E27FC236}">
                <a16:creationId xmlns:a16="http://schemas.microsoft.com/office/drawing/2014/main" id="{28635305-9228-EA12-0240-BB4B0017F01A}"/>
              </a:ext>
            </a:extLst>
          </p:cNvPr>
          <p:cNvSpPr/>
          <p:nvPr/>
        </p:nvSpPr>
        <p:spPr>
          <a:xfrm>
            <a:off x="1341946" y="5810137"/>
            <a:ext cx="9702393" cy="405357"/>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b="1"/>
              <a:t>Hint</a:t>
            </a:r>
            <a:r>
              <a:rPr lang="en-US" sz="1200"/>
              <a:t>: to enable your chatbot to answer questions based on images and text, you will need to implement a multimodal RAG. There are multiple ways of doing it: search the internet or use ChatGPT to find suitable options</a:t>
            </a:r>
            <a:endParaRPr lang="en-US"/>
          </a:p>
        </p:txBody>
      </p:sp>
    </p:spTree>
    <p:extLst>
      <p:ext uri="{BB962C8B-B14F-4D97-AF65-F5344CB8AC3E}">
        <p14:creationId xmlns:p14="http://schemas.microsoft.com/office/powerpoint/2010/main" val="79829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Content Placeholder 1">
            <a:extLst>
              <a:ext uri="{FF2B5EF4-FFF2-40B4-BE49-F238E27FC236}">
                <a16:creationId xmlns:a16="http://schemas.microsoft.com/office/drawing/2014/main" id="{69014E3D-AFF1-24F8-919B-419BD8064DF2}"/>
              </a:ext>
            </a:extLst>
          </p:cNvPr>
          <p:cNvPicPr>
            <a:picLocks noChangeAspect="1"/>
          </p:cNvPicPr>
          <p:nvPr/>
        </p:nvPicPr>
        <p:blipFill>
          <a:blip r:embed="rId4"/>
          <a:srcRect l="17165" r="17165"/>
          <a:stretch/>
        </p:blipFill>
        <p:spPr>
          <a:xfrm>
            <a:off x="5549746" y="-10245"/>
            <a:ext cx="6768378" cy="6868245"/>
          </a:xfrm>
          <a:prstGeom prst="rect">
            <a:avLst/>
          </a:prstGeom>
        </p:spPr>
      </p:pic>
      <p:grpSp>
        <p:nvGrpSpPr>
          <p:cNvPr id="70" name="Group 69">
            <a:extLst>
              <a:ext uri="{FF2B5EF4-FFF2-40B4-BE49-F238E27FC236}">
                <a16:creationId xmlns:a16="http://schemas.microsoft.com/office/drawing/2014/main" id="{BEE1A486-016F-A250-9908-EA17C6E885EF}"/>
              </a:ext>
            </a:extLst>
          </p:cNvPr>
          <p:cNvGrpSpPr/>
          <p:nvPr/>
        </p:nvGrpSpPr>
        <p:grpSpPr>
          <a:xfrm>
            <a:off x="6590692" y="0"/>
            <a:ext cx="5727432" cy="6868244"/>
            <a:chOff x="6464568" y="-49428"/>
            <a:chExt cx="5727432" cy="6917672"/>
          </a:xfrm>
        </p:grpSpPr>
        <p:sp>
          <p:nvSpPr>
            <p:cNvPr id="71" name="Rectangle 70">
              <a:extLst>
                <a:ext uri="{FF2B5EF4-FFF2-40B4-BE49-F238E27FC236}">
                  <a16:creationId xmlns:a16="http://schemas.microsoft.com/office/drawing/2014/main" id="{857B9BBA-454B-B8D0-BAF4-661DFA9D1377}"/>
                </a:ext>
              </a:extLst>
            </p:cNvPr>
            <p:cNvSpPr/>
            <p:nvPr/>
          </p:nvSpPr>
          <p:spPr>
            <a:xfrm>
              <a:off x="8671034" y="-49428"/>
              <a:ext cx="3520966" cy="6917671"/>
            </a:xfrm>
            <a:prstGeom prst="rect">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sym typeface="Open Sans"/>
              </a:endParaRPr>
            </a:p>
          </p:txBody>
        </p:sp>
        <p:sp>
          <p:nvSpPr>
            <p:cNvPr id="72" name="Right Triangle 71">
              <a:extLst>
                <a:ext uri="{FF2B5EF4-FFF2-40B4-BE49-F238E27FC236}">
                  <a16:creationId xmlns:a16="http://schemas.microsoft.com/office/drawing/2014/main" id="{8D826358-535F-8594-8A8F-45F1B0F83364}"/>
                </a:ext>
              </a:extLst>
            </p:cNvPr>
            <p:cNvSpPr/>
            <p:nvPr/>
          </p:nvSpPr>
          <p:spPr bwMode="gray">
            <a:xfrm flipH="1">
              <a:off x="6464568" y="-28575"/>
              <a:ext cx="2206466" cy="6896819"/>
            </a:xfrm>
            <a:prstGeom prst="rtTriangle">
              <a:avLst/>
            </a:prstGeom>
            <a:solidFill>
              <a:srgbClr val="000000">
                <a:alpha val="53000"/>
              </a:srgbClr>
            </a:solidFill>
            <a:ln w="12700" cap="flat">
              <a:no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defTabSz="914400" hangingPunct="0"/>
              <a:endParaRPr lang="en-GB" sz="1800" kern="0">
                <a:solidFill>
                  <a:srgbClr val="000000"/>
                </a:solidFill>
                <a:latin typeface="Calibri" panose="020F0502020204030204" pitchFamily="34" charset="0"/>
                <a:ea typeface="Open Sans"/>
                <a:cs typeface="Calibri" panose="020F0502020204030204" pitchFamily="34" charset="0"/>
              </a:endParaRPr>
            </a:p>
          </p:txBody>
        </p:sp>
      </p:grpSp>
      <p:sp>
        <p:nvSpPr>
          <p:cNvPr id="2" name="Freeform 26">
            <a:extLst>
              <a:ext uri="{FF2B5EF4-FFF2-40B4-BE49-F238E27FC236}">
                <a16:creationId xmlns:a16="http://schemas.microsoft.com/office/drawing/2014/main" id="{439087B6-B43E-CC30-6F07-4C9B6805071E}"/>
              </a:ext>
            </a:extLst>
          </p:cNvPr>
          <p:cNvSpPr/>
          <p:nvPr/>
        </p:nvSpPr>
        <p:spPr>
          <a:xfrm>
            <a:off x="3771076" y="-10245"/>
            <a:ext cx="5037644" cy="6878489"/>
          </a:xfrm>
          <a:custGeom>
            <a:avLst/>
            <a:gdLst>
              <a:gd name="connsiteX0" fmla="*/ 0 w 9634389"/>
              <a:gd name="connsiteY0" fmla="*/ 0 h 6858001"/>
              <a:gd name="connsiteX1" fmla="*/ 6221338 w 9634389"/>
              <a:gd name="connsiteY1" fmla="*/ 0 h 6858001"/>
              <a:gd name="connsiteX2" fmla="*/ 6221338 w 9634389"/>
              <a:gd name="connsiteY2" fmla="*/ 1 h 6858001"/>
              <a:gd name="connsiteX3" fmla="*/ 9634389 w 9634389"/>
              <a:gd name="connsiteY3" fmla="*/ 1 h 6858001"/>
              <a:gd name="connsiteX4" fmla="*/ 7140751 w 9634389"/>
              <a:gd name="connsiteY4" fmla="*/ 6858001 h 6858001"/>
              <a:gd name="connsiteX5" fmla="*/ 6221338 w 9634389"/>
              <a:gd name="connsiteY5" fmla="*/ 6858001 h 6858001"/>
              <a:gd name="connsiteX6" fmla="*/ 5556311 w 9634389"/>
              <a:gd name="connsiteY6" fmla="*/ 6858001 h 6858001"/>
              <a:gd name="connsiteX7" fmla="*/ 0 w 963438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34389" h="6858001">
                <a:moveTo>
                  <a:pt x="0" y="0"/>
                </a:moveTo>
                <a:lnTo>
                  <a:pt x="6221338" y="0"/>
                </a:lnTo>
                <a:lnTo>
                  <a:pt x="6221338" y="1"/>
                </a:lnTo>
                <a:lnTo>
                  <a:pt x="9634389" y="1"/>
                </a:lnTo>
                <a:lnTo>
                  <a:pt x="7140751" y="6858001"/>
                </a:lnTo>
                <a:lnTo>
                  <a:pt x="6221338" y="6858001"/>
                </a:lnTo>
                <a:lnTo>
                  <a:pt x="5556311" y="6858001"/>
                </a:lnTo>
                <a:lnTo>
                  <a:pt x="0" y="6858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p>
        </p:txBody>
      </p:sp>
      <p:sp>
        <p:nvSpPr>
          <p:cNvPr id="58" name="Text Placeholder 5">
            <a:extLst>
              <a:ext uri="{FF2B5EF4-FFF2-40B4-BE49-F238E27FC236}">
                <a16:creationId xmlns:a16="http://schemas.microsoft.com/office/drawing/2014/main" id="{2310B6FE-8A22-D603-A9E6-78F62F0ACE53}"/>
              </a:ext>
            </a:extLst>
          </p:cNvPr>
          <p:cNvSpPr txBox="1">
            <a:spLocks/>
          </p:cNvSpPr>
          <p:nvPr/>
        </p:nvSpPr>
        <p:spPr>
          <a:xfrm>
            <a:off x="1342260" y="73668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a:t>Challenge Rules</a:t>
            </a:r>
            <a:endParaRPr lang="en-US" noProof="0"/>
          </a:p>
        </p:txBody>
      </p:sp>
      <p:sp>
        <p:nvSpPr>
          <p:cNvPr id="59" name="Title 2">
            <a:extLst>
              <a:ext uri="{FF2B5EF4-FFF2-40B4-BE49-F238E27FC236}">
                <a16:creationId xmlns:a16="http://schemas.microsoft.com/office/drawing/2014/main" id="{5084743A-DA06-CFC6-76E3-87FB51BBCABF}"/>
              </a:ext>
            </a:extLst>
          </p:cNvPr>
          <p:cNvSpPr txBox="1">
            <a:spLocks/>
          </p:cNvSpPr>
          <p:nvPr/>
        </p:nvSpPr>
        <p:spPr bwMode="gray">
          <a:xfrm>
            <a:off x="134226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a:t>Deloitte Tech Experience</a:t>
            </a:r>
          </a:p>
        </p:txBody>
      </p:sp>
      <p:sp>
        <p:nvSpPr>
          <p:cNvPr id="5" name="Content Placeholder 4"/>
          <p:cNvSpPr>
            <a:spLocks noGrp="1"/>
          </p:cNvSpPr>
          <p:nvPr>
            <p:ph sz="quarter" idx="16"/>
          </p:nvPr>
        </p:nvSpPr>
        <p:spPr>
          <a:xfrm>
            <a:off x="1348792" y="1392626"/>
            <a:ext cx="5814000" cy="4801555"/>
          </a:xfrm>
        </p:spPr>
        <p:txBody>
          <a:bodyPr vert="horz" lIns="0" tIns="0" rIns="0" bIns="0" rtlCol="0" anchor="t">
            <a:noAutofit/>
          </a:bodyPr>
          <a:lstStyle/>
          <a:p>
            <a:pPr marL="182245" indent="-182245" algn="just">
              <a:lnSpc>
                <a:spcPct val="130000"/>
              </a:lnSpc>
              <a:spcAft>
                <a:spcPts val="600"/>
              </a:spcAft>
              <a:buClr>
                <a:schemeClr val="accent1"/>
              </a:buClr>
              <a:buFont typeface="Verdana" panose="020B0604030504040204" pitchFamily="34" charset="0"/>
              <a:buChar char="»"/>
            </a:pPr>
            <a:r>
              <a:rPr lang="en-US" sz="1100" dirty="0"/>
              <a:t>During the next </a:t>
            </a:r>
            <a:r>
              <a:rPr lang="en-US" sz="1100" b="1" dirty="0"/>
              <a:t>4 hours </a:t>
            </a:r>
            <a:r>
              <a:rPr lang="en-US" sz="1100" dirty="0"/>
              <a:t>you will work </a:t>
            </a:r>
            <a:r>
              <a:rPr lang="en-US" sz="1100" b="1" dirty="0"/>
              <a:t>in teams</a:t>
            </a:r>
            <a:r>
              <a:rPr lang="en-US" sz="1100" dirty="0"/>
              <a:t>.</a:t>
            </a:r>
            <a:endParaRPr lang="en-US" dirty="0"/>
          </a:p>
          <a:p>
            <a:pPr marL="182245" indent="-182245" algn="just">
              <a:lnSpc>
                <a:spcPct val="130000"/>
              </a:lnSpc>
              <a:spcAft>
                <a:spcPts val="600"/>
              </a:spcAft>
              <a:buFont typeface="Arial" panose="020B0604020202020204" pitchFamily="34" charset="0"/>
              <a:buChar char="•"/>
            </a:pPr>
            <a:endParaRPr lang="en-US" sz="500" dirty="0">
              <a:ea typeface="Verdana"/>
            </a:endParaRPr>
          </a:p>
          <a:p>
            <a:pPr marL="182245" indent="-182245" algn="just">
              <a:lnSpc>
                <a:spcPct val="130000"/>
              </a:lnSpc>
              <a:spcAft>
                <a:spcPts val="600"/>
              </a:spcAft>
              <a:buClr>
                <a:schemeClr val="accent1"/>
              </a:buClr>
              <a:buFont typeface="Verdana" panose="020B0604030504040204" pitchFamily="34" charset="0"/>
              <a:buChar char="»"/>
            </a:pPr>
            <a:r>
              <a:rPr lang="en-US" sz="1100" dirty="0"/>
              <a:t>The main objective is to build a chatbot prototype. You will have at your disposal a set of assets, tools and a code base which will help you kick-start the project. Technical details are available in the Technical Instructions section.</a:t>
            </a:r>
            <a:endParaRPr lang="en-US" sz="1100" dirty="0">
              <a:ea typeface="Verdana"/>
            </a:endParaRPr>
          </a:p>
          <a:p>
            <a:pPr marL="182245" indent="-182245" algn="just">
              <a:lnSpc>
                <a:spcPct val="130000"/>
              </a:lnSpc>
              <a:spcAft>
                <a:spcPts val="600"/>
              </a:spcAft>
              <a:buClr>
                <a:schemeClr val="accent1"/>
              </a:buClr>
              <a:buFont typeface="Verdana" panose="020B0604030504040204" pitchFamily="34" charset="0"/>
              <a:buChar char="»"/>
            </a:pPr>
            <a:endParaRPr lang="en-US" sz="500" dirty="0">
              <a:ea typeface="Verdana"/>
            </a:endParaRPr>
          </a:p>
          <a:p>
            <a:pPr marL="182245" indent="-182245" algn="just">
              <a:lnSpc>
                <a:spcPct val="130000"/>
              </a:lnSpc>
              <a:spcAft>
                <a:spcPts val="600"/>
              </a:spcAft>
              <a:buClr>
                <a:schemeClr val="accent1"/>
              </a:buClr>
              <a:buFont typeface="Verdana" panose="020B0604030504040204" pitchFamily="34" charset="0"/>
              <a:buChar char="»"/>
            </a:pPr>
            <a:r>
              <a:rPr lang="en-US" sz="1100" dirty="0"/>
              <a:t>At the end, each team will present their ideas and prototype in a </a:t>
            </a:r>
            <a:r>
              <a:rPr lang="en-US" sz="1100" b="1" dirty="0"/>
              <a:t>10-minute pitch</a:t>
            </a:r>
            <a:r>
              <a:rPr lang="en-US" sz="1100" dirty="0"/>
              <a:t>, supported by a PPT document.</a:t>
            </a:r>
            <a:endParaRPr lang="en-US" sz="1100" dirty="0">
              <a:ea typeface="Verdana"/>
            </a:endParaRPr>
          </a:p>
          <a:p>
            <a:pPr marL="182245" indent="-182245" algn="just">
              <a:lnSpc>
                <a:spcPct val="130000"/>
              </a:lnSpc>
              <a:spcAft>
                <a:spcPts val="600"/>
              </a:spcAft>
              <a:buClr>
                <a:schemeClr val="accent1"/>
              </a:buClr>
              <a:buFont typeface="Verdana" panose="020B0604030504040204" pitchFamily="34" charset="0"/>
              <a:buChar char="»"/>
            </a:pPr>
            <a:endParaRPr lang="en-US" sz="500" dirty="0">
              <a:ea typeface="Verdana"/>
            </a:endParaRPr>
          </a:p>
          <a:p>
            <a:pPr marL="182245" indent="-182245" algn="just">
              <a:lnSpc>
                <a:spcPct val="130000"/>
              </a:lnSpc>
              <a:spcAft>
                <a:spcPts val="600"/>
              </a:spcAft>
              <a:buClr>
                <a:schemeClr val="accent1"/>
              </a:buClr>
              <a:buFont typeface="Verdana" panose="020B0604030504040204" pitchFamily="34" charset="0"/>
              <a:buChar char="»"/>
            </a:pPr>
            <a:r>
              <a:rPr lang="en-US" sz="1100" dirty="0"/>
              <a:t>Teams will be evaluated by the </a:t>
            </a:r>
            <a:r>
              <a:rPr lang="en-US" sz="1100" b="1" dirty="0"/>
              <a:t>originality of the ideas, prototype, questions coverage and answer accuracy, quality of pitch and ability to work as a team</a:t>
            </a:r>
            <a:r>
              <a:rPr lang="en-US" sz="1100" dirty="0"/>
              <a:t>.</a:t>
            </a:r>
            <a:endParaRPr lang="en-US" sz="1100" dirty="0">
              <a:ea typeface="Verdana"/>
            </a:endParaRPr>
          </a:p>
          <a:p>
            <a:pPr marL="182245" indent="-182245" algn="just">
              <a:lnSpc>
                <a:spcPct val="130000"/>
              </a:lnSpc>
              <a:spcAft>
                <a:spcPts val="600"/>
              </a:spcAft>
              <a:buClr>
                <a:schemeClr val="accent1"/>
              </a:buClr>
              <a:buFont typeface="Verdana" panose="020B0604030504040204" pitchFamily="34" charset="0"/>
              <a:buChar char="»"/>
            </a:pPr>
            <a:endParaRPr lang="en-US" sz="500" dirty="0">
              <a:ea typeface="Verdana"/>
            </a:endParaRPr>
          </a:p>
          <a:p>
            <a:pPr marL="182245" indent="-182245" algn="just">
              <a:lnSpc>
                <a:spcPct val="130000"/>
              </a:lnSpc>
              <a:spcAft>
                <a:spcPts val="600"/>
              </a:spcAft>
              <a:buClr>
                <a:schemeClr val="accent1"/>
              </a:buClr>
              <a:buFont typeface="Verdana" panose="020B0604030504040204" pitchFamily="34" charset="0"/>
              <a:buChar char="»"/>
            </a:pPr>
            <a:r>
              <a:rPr lang="en-US" sz="1100" dirty="0"/>
              <a:t>Please ask for help to one of the technical experts in the room - be pragmatic on your asks.</a:t>
            </a:r>
          </a:p>
          <a:p>
            <a:pPr marL="182245" indent="-182245" algn="just">
              <a:lnSpc>
                <a:spcPct val="130000"/>
              </a:lnSpc>
              <a:spcAft>
                <a:spcPts val="600"/>
              </a:spcAft>
              <a:buClr>
                <a:schemeClr val="accent1"/>
              </a:buClr>
              <a:buFont typeface="Verdana" panose="020B0604030504040204" pitchFamily="34" charset="0"/>
              <a:buChar char="»"/>
            </a:pPr>
            <a:endParaRPr lang="en-US" sz="500" dirty="0">
              <a:ea typeface="Verdana"/>
            </a:endParaRPr>
          </a:p>
          <a:p>
            <a:pPr marL="182245" indent="-182245" algn="just">
              <a:lnSpc>
                <a:spcPct val="130000"/>
              </a:lnSpc>
              <a:spcAft>
                <a:spcPts val="600"/>
              </a:spcAft>
              <a:buClr>
                <a:schemeClr val="accent1"/>
              </a:buClr>
              <a:buFont typeface="Verdana" panose="020B0604030504040204" pitchFamily="34" charset="0"/>
              <a:buChar char="»"/>
            </a:pPr>
            <a:r>
              <a:rPr lang="en-US" sz="1100" dirty="0">
                <a:ea typeface="Verdana"/>
              </a:rPr>
              <a:t>The use of other Generative AI solutions (example ChatGPT) is not only allowed but encouraged as a mean to speed your developments.</a:t>
            </a:r>
          </a:p>
        </p:txBody>
      </p:sp>
      <p:sp>
        <p:nvSpPr>
          <p:cNvPr id="9" name="Rectangle: Rounded Corners 8">
            <a:extLst>
              <a:ext uri="{FF2B5EF4-FFF2-40B4-BE49-F238E27FC236}">
                <a16:creationId xmlns:a16="http://schemas.microsoft.com/office/drawing/2014/main" id="{065D9B24-DFCE-CFB6-F2C8-721100C1829F}"/>
              </a:ext>
            </a:extLst>
          </p:cNvPr>
          <p:cNvSpPr/>
          <p:nvPr/>
        </p:nvSpPr>
        <p:spPr>
          <a:xfrm>
            <a:off x="241301" y="401782"/>
            <a:ext cx="648000" cy="5859318"/>
          </a:xfrm>
          <a:prstGeom prst="roundRect">
            <a:avLst/>
          </a:prstGeom>
          <a:noFill/>
          <a:ln w="76200">
            <a:solidFill>
              <a:schemeClr val="accent1">
                <a:lumMod val="20000"/>
                <a:lumOff val="80000"/>
              </a:schemeClr>
            </a:solidFill>
          </a:ln>
          <a:effectLst>
            <a:outerShdw blurRad="63500" sx="102000" sy="102000" algn="ctr" rotWithShape="0">
              <a:srgbClr val="A5D7D3">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Graphic 1100">
            <a:extLst>
              <a:ext uri="{FF2B5EF4-FFF2-40B4-BE49-F238E27FC236}">
                <a16:creationId xmlns:a16="http://schemas.microsoft.com/office/drawing/2014/main" id="{78928C0E-2D8F-D060-153D-ACF73EF312B4}"/>
              </a:ext>
            </a:extLst>
          </p:cNvPr>
          <p:cNvSpPr>
            <a:spLocks noChangeAspect="1"/>
          </p:cNvSpPr>
          <p:nvPr/>
        </p:nvSpPr>
        <p:spPr>
          <a:xfrm>
            <a:off x="445679" y="3629341"/>
            <a:ext cx="360332" cy="360000"/>
          </a:xfrm>
          <a:custGeom>
            <a:avLst/>
            <a:gdLst>
              <a:gd name="connsiteX0" fmla="*/ 189781 w 196170"/>
              <a:gd name="connsiteY0" fmla="*/ 49795 h 195988"/>
              <a:gd name="connsiteX1" fmla="*/ 156553 w 196170"/>
              <a:gd name="connsiteY1" fmla="*/ 49795 h 195988"/>
              <a:gd name="connsiteX2" fmla="*/ 150164 w 196170"/>
              <a:gd name="connsiteY2" fmla="*/ 56179 h 195988"/>
              <a:gd name="connsiteX3" fmla="*/ 150164 w 196170"/>
              <a:gd name="connsiteY3" fmla="*/ 66393 h 195988"/>
              <a:gd name="connsiteX4" fmla="*/ 129715 w 196170"/>
              <a:gd name="connsiteY4" fmla="*/ 66393 h 195988"/>
              <a:gd name="connsiteX5" fmla="*/ 129715 w 196170"/>
              <a:gd name="connsiteY5" fmla="*/ 45965 h 195988"/>
              <a:gd name="connsiteX6" fmla="*/ 139939 w 196170"/>
              <a:gd name="connsiteY6" fmla="*/ 45965 h 195988"/>
              <a:gd name="connsiteX7" fmla="*/ 146329 w 196170"/>
              <a:gd name="connsiteY7" fmla="*/ 39581 h 195988"/>
              <a:gd name="connsiteX8" fmla="*/ 146329 w 196170"/>
              <a:gd name="connsiteY8" fmla="*/ 6384 h 195988"/>
              <a:gd name="connsiteX9" fmla="*/ 139939 w 196170"/>
              <a:gd name="connsiteY9" fmla="*/ 0 h 195988"/>
              <a:gd name="connsiteX10" fmla="*/ 106712 w 196170"/>
              <a:gd name="connsiteY10" fmla="*/ 0 h 195988"/>
              <a:gd name="connsiteX11" fmla="*/ 100322 w 196170"/>
              <a:gd name="connsiteY11" fmla="*/ 6384 h 195988"/>
              <a:gd name="connsiteX12" fmla="*/ 100322 w 196170"/>
              <a:gd name="connsiteY12" fmla="*/ 16598 h 195988"/>
              <a:gd name="connsiteX13" fmla="*/ 46007 w 196170"/>
              <a:gd name="connsiteY13" fmla="*/ 16598 h 195988"/>
              <a:gd name="connsiteX14" fmla="*/ 46007 w 196170"/>
              <a:gd name="connsiteY14" fmla="*/ 6384 h 195988"/>
              <a:gd name="connsiteX15" fmla="*/ 39617 w 196170"/>
              <a:gd name="connsiteY15" fmla="*/ 0 h 195988"/>
              <a:gd name="connsiteX16" fmla="*/ 6390 w 196170"/>
              <a:gd name="connsiteY16" fmla="*/ 0 h 195988"/>
              <a:gd name="connsiteX17" fmla="*/ 0 w 196170"/>
              <a:gd name="connsiteY17" fmla="*/ 6384 h 195988"/>
              <a:gd name="connsiteX18" fmla="*/ 0 w 196170"/>
              <a:gd name="connsiteY18" fmla="*/ 39581 h 195988"/>
              <a:gd name="connsiteX19" fmla="*/ 6390 w 196170"/>
              <a:gd name="connsiteY19" fmla="*/ 45965 h 195988"/>
              <a:gd name="connsiteX20" fmla="*/ 16614 w 196170"/>
              <a:gd name="connsiteY20" fmla="*/ 45965 h 195988"/>
              <a:gd name="connsiteX21" fmla="*/ 16614 w 196170"/>
              <a:gd name="connsiteY21" fmla="*/ 100228 h 195988"/>
              <a:gd name="connsiteX22" fmla="*/ 6390 w 196170"/>
              <a:gd name="connsiteY22" fmla="*/ 100228 h 195988"/>
              <a:gd name="connsiteX23" fmla="*/ 0 w 196170"/>
              <a:gd name="connsiteY23" fmla="*/ 106612 h 195988"/>
              <a:gd name="connsiteX24" fmla="*/ 0 w 196170"/>
              <a:gd name="connsiteY24" fmla="*/ 139809 h 195988"/>
              <a:gd name="connsiteX25" fmla="*/ 6390 w 196170"/>
              <a:gd name="connsiteY25" fmla="*/ 146193 h 195988"/>
              <a:gd name="connsiteX26" fmla="*/ 39617 w 196170"/>
              <a:gd name="connsiteY26" fmla="*/ 146193 h 195988"/>
              <a:gd name="connsiteX27" fmla="*/ 46007 w 196170"/>
              <a:gd name="connsiteY27" fmla="*/ 139809 h 195988"/>
              <a:gd name="connsiteX28" fmla="*/ 46007 w 196170"/>
              <a:gd name="connsiteY28" fmla="*/ 129595 h 195988"/>
              <a:gd name="connsiteX29" fmla="*/ 66455 w 196170"/>
              <a:gd name="connsiteY29" fmla="*/ 129595 h 195988"/>
              <a:gd name="connsiteX30" fmla="*/ 66455 w 196170"/>
              <a:gd name="connsiteY30" fmla="*/ 148108 h 195988"/>
              <a:gd name="connsiteX31" fmla="*/ 67094 w 196170"/>
              <a:gd name="connsiteY31" fmla="*/ 150024 h 195988"/>
              <a:gd name="connsiteX32" fmla="*/ 56231 w 196170"/>
              <a:gd name="connsiteY32" fmla="*/ 150024 h 195988"/>
              <a:gd name="connsiteX33" fmla="*/ 49841 w 196170"/>
              <a:gd name="connsiteY33" fmla="*/ 156408 h 195988"/>
              <a:gd name="connsiteX34" fmla="*/ 49841 w 196170"/>
              <a:gd name="connsiteY34" fmla="*/ 189604 h 195988"/>
              <a:gd name="connsiteX35" fmla="*/ 56231 w 196170"/>
              <a:gd name="connsiteY35" fmla="*/ 195988 h 195988"/>
              <a:gd name="connsiteX36" fmla="*/ 89459 w 196170"/>
              <a:gd name="connsiteY36" fmla="*/ 195988 h 195988"/>
              <a:gd name="connsiteX37" fmla="*/ 95849 w 196170"/>
              <a:gd name="connsiteY37" fmla="*/ 189604 h 195988"/>
              <a:gd name="connsiteX38" fmla="*/ 95849 w 196170"/>
              <a:gd name="connsiteY38" fmla="*/ 179390 h 195988"/>
              <a:gd name="connsiteX39" fmla="*/ 150164 w 196170"/>
              <a:gd name="connsiteY39" fmla="*/ 179390 h 195988"/>
              <a:gd name="connsiteX40" fmla="*/ 150164 w 196170"/>
              <a:gd name="connsiteY40" fmla="*/ 189604 h 195988"/>
              <a:gd name="connsiteX41" fmla="*/ 156553 w 196170"/>
              <a:gd name="connsiteY41" fmla="*/ 195988 h 195988"/>
              <a:gd name="connsiteX42" fmla="*/ 189781 w 196170"/>
              <a:gd name="connsiteY42" fmla="*/ 195988 h 195988"/>
              <a:gd name="connsiteX43" fmla="*/ 196171 w 196170"/>
              <a:gd name="connsiteY43" fmla="*/ 189604 h 195988"/>
              <a:gd name="connsiteX44" fmla="*/ 196171 w 196170"/>
              <a:gd name="connsiteY44" fmla="*/ 156408 h 195988"/>
              <a:gd name="connsiteX45" fmla="*/ 189781 w 196170"/>
              <a:gd name="connsiteY45" fmla="*/ 150024 h 195988"/>
              <a:gd name="connsiteX46" fmla="*/ 179557 w 196170"/>
              <a:gd name="connsiteY46" fmla="*/ 150024 h 195988"/>
              <a:gd name="connsiteX47" fmla="*/ 179557 w 196170"/>
              <a:gd name="connsiteY47" fmla="*/ 95760 h 195988"/>
              <a:gd name="connsiteX48" fmla="*/ 189781 w 196170"/>
              <a:gd name="connsiteY48" fmla="*/ 95760 h 195988"/>
              <a:gd name="connsiteX49" fmla="*/ 196171 w 196170"/>
              <a:gd name="connsiteY49" fmla="*/ 89376 h 195988"/>
              <a:gd name="connsiteX50" fmla="*/ 196171 w 196170"/>
              <a:gd name="connsiteY50" fmla="*/ 56179 h 195988"/>
              <a:gd name="connsiteX51" fmla="*/ 189781 w 196170"/>
              <a:gd name="connsiteY51" fmla="*/ 49795 h 195988"/>
              <a:gd name="connsiteX52" fmla="*/ 132910 w 196170"/>
              <a:gd name="connsiteY52" fmla="*/ 112358 h 195988"/>
              <a:gd name="connsiteX53" fmla="*/ 132910 w 196170"/>
              <a:gd name="connsiteY53" fmla="*/ 132787 h 195988"/>
              <a:gd name="connsiteX54" fmla="*/ 112463 w 196170"/>
              <a:gd name="connsiteY54" fmla="*/ 132787 h 195988"/>
              <a:gd name="connsiteX55" fmla="*/ 112463 w 196170"/>
              <a:gd name="connsiteY55" fmla="*/ 112358 h 195988"/>
              <a:gd name="connsiteX56" fmla="*/ 132910 w 196170"/>
              <a:gd name="connsiteY56" fmla="*/ 112358 h 195988"/>
              <a:gd name="connsiteX57" fmla="*/ 112463 w 196170"/>
              <a:gd name="connsiteY57" fmla="*/ 12130 h 195988"/>
              <a:gd name="connsiteX58" fmla="*/ 132910 w 196170"/>
              <a:gd name="connsiteY58" fmla="*/ 12130 h 195988"/>
              <a:gd name="connsiteX59" fmla="*/ 132910 w 196170"/>
              <a:gd name="connsiteY59" fmla="*/ 32558 h 195988"/>
              <a:gd name="connsiteX60" fmla="*/ 112463 w 196170"/>
              <a:gd name="connsiteY60" fmla="*/ 32558 h 195988"/>
              <a:gd name="connsiteX61" fmla="*/ 112463 w 196170"/>
              <a:gd name="connsiteY61" fmla="*/ 12130 h 195988"/>
              <a:gd name="connsiteX62" fmla="*/ 11501 w 196170"/>
              <a:gd name="connsiteY62" fmla="*/ 12130 h 195988"/>
              <a:gd name="connsiteX63" fmla="*/ 31950 w 196170"/>
              <a:gd name="connsiteY63" fmla="*/ 12130 h 195988"/>
              <a:gd name="connsiteX64" fmla="*/ 31950 w 196170"/>
              <a:gd name="connsiteY64" fmla="*/ 32558 h 195988"/>
              <a:gd name="connsiteX65" fmla="*/ 11501 w 196170"/>
              <a:gd name="connsiteY65" fmla="*/ 32558 h 195988"/>
              <a:gd name="connsiteX66" fmla="*/ 11501 w 196170"/>
              <a:gd name="connsiteY66" fmla="*/ 12130 h 195988"/>
              <a:gd name="connsiteX67" fmla="*/ 32589 w 196170"/>
              <a:gd name="connsiteY67" fmla="*/ 133425 h 195988"/>
              <a:gd name="connsiteX68" fmla="*/ 12140 w 196170"/>
              <a:gd name="connsiteY68" fmla="*/ 133425 h 195988"/>
              <a:gd name="connsiteX69" fmla="*/ 12140 w 196170"/>
              <a:gd name="connsiteY69" fmla="*/ 112996 h 195988"/>
              <a:gd name="connsiteX70" fmla="*/ 32589 w 196170"/>
              <a:gd name="connsiteY70" fmla="*/ 112996 h 195988"/>
              <a:gd name="connsiteX71" fmla="*/ 32589 w 196170"/>
              <a:gd name="connsiteY71" fmla="*/ 133425 h 195988"/>
              <a:gd name="connsiteX72" fmla="*/ 38978 w 196170"/>
              <a:gd name="connsiteY72" fmla="*/ 99590 h 195988"/>
              <a:gd name="connsiteX73" fmla="*/ 28755 w 196170"/>
              <a:gd name="connsiteY73" fmla="*/ 99590 h 195988"/>
              <a:gd name="connsiteX74" fmla="*/ 28755 w 196170"/>
              <a:gd name="connsiteY74" fmla="*/ 45326 h 195988"/>
              <a:gd name="connsiteX75" fmla="*/ 38978 w 196170"/>
              <a:gd name="connsiteY75" fmla="*/ 45326 h 195988"/>
              <a:gd name="connsiteX76" fmla="*/ 45368 w 196170"/>
              <a:gd name="connsiteY76" fmla="*/ 38942 h 195988"/>
              <a:gd name="connsiteX77" fmla="*/ 45368 w 196170"/>
              <a:gd name="connsiteY77" fmla="*/ 28089 h 195988"/>
              <a:gd name="connsiteX78" fmla="*/ 99683 w 196170"/>
              <a:gd name="connsiteY78" fmla="*/ 28089 h 195988"/>
              <a:gd name="connsiteX79" fmla="*/ 99683 w 196170"/>
              <a:gd name="connsiteY79" fmla="*/ 38304 h 195988"/>
              <a:gd name="connsiteX80" fmla="*/ 106073 w 196170"/>
              <a:gd name="connsiteY80" fmla="*/ 44688 h 195988"/>
              <a:gd name="connsiteX81" fmla="*/ 116297 w 196170"/>
              <a:gd name="connsiteY81" fmla="*/ 44688 h 195988"/>
              <a:gd name="connsiteX82" fmla="*/ 116297 w 196170"/>
              <a:gd name="connsiteY82" fmla="*/ 98952 h 195988"/>
              <a:gd name="connsiteX83" fmla="*/ 106073 w 196170"/>
              <a:gd name="connsiteY83" fmla="*/ 98952 h 195988"/>
              <a:gd name="connsiteX84" fmla="*/ 99683 w 196170"/>
              <a:gd name="connsiteY84" fmla="*/ 105336 h 195988"/>
              <a:gd name="connsiteX85" fmla="*/ 99683 w 196170"/>
              <a:gd name="connsiteY85" fmla="*/ 116188 h 195988"/>
              <a:gd name="connsiteX86" fmla="*/ 97766 w 196170"/>
              <a:gd name="connsiteY86" fmla="*/ 115550 h 195988"/>
              <a:gd name="connsiteX87" fmla="*/ 45368 w 196170"/>
              <a:gd name="connsiteY87" fmla="*/ 115550 h 195988"/>
              <a:gd name="connsiteX88" fmla="*/ 45368 w 196170"/>
              <a:gd name="connsiteY88" fmla="*/ 105336 h 195988"/>
              <a:gd name="connsiteX89" fmla="*/ 38978 w 196170"/>
              <a:gd name="connsiteY89" fmla="*/ 99590 h 195988"/>
              <a:gd name="connsiteX90" fmla="*/ 38978 w 196170"/>
              <a:gd name="connsiteY90" fmla="*/ 99590 h 195988"/>
              <a:gd name="connsiteX91" fmla="*/ 83069 w 196170"/>
              <a:gd name="connsiteY91" fmla="*/ 183859 h 195988"/>
              <a:gd name="connsiteX92" fmla="*/ 62621 w 196170"/>
              <a:gd name="connsiteY92" fmla="*/ 183859 h 195988"/>
              <a:gd name="connsiteX93" fmla="*/ 62621 w 196170"/>
              <a:gd name="connsiteY93" fmla="*/ 163430 h 195988"/>
              <a:gd name="connsiteX94" fmla="*/ 83069 w 196170"/>
              <a:gd name="connsiteY94" fmla="*/ 163430 h 195988"/>
              <a:gd name="connsiteX95" fmla="*/ 83069 w 196170"/>
              <a:gd name="connsiteY95" fmla="*/ 183859 h 195988"/>
              <a:gd name="connsiteX96" fmla="*/ 183391 w 196170"/>
              <a:gd name="connsiteY96" fmla="*/ 183859 h 195988"/>
              <a:gd name="connsiteX97" fmla="*/ 162943 w 196170"/>
              <a:gd name="connsiteY97" fmla="*/ 183859 h 195988"/>
              <a:gd name="connsiteX98" fmla="*/ 162943 w 196170"/>
              <a:gd name="connsiteY98" fmla="*/ 163430 h 195988"/>
              <a:gd name="connsiteX99" fmla="*/ 183391 w 196170"/>
              <a:gd name="connsiteY99" fmla="*/ 163430 h 195988"/>
              <a:gd name="connsiteX100" fmla="*/ 183391 w 196170"/>
              <a:gd name="connsiteY100" fmla="*/ 183859 h 195988"/>
              <a:gd name="connsiteX101" fmla="*/ 166777 w 196170"/>
              <a:gd name="connsiteY101" fmla="*/ 150024 h 195988"/>
              <a:gd name="connsiteX102" fmla="*/ 156553 w 196170"/>
              <a:gd name="connsiteY102" fmla="*/ 150024 h 195988"/>
              <a:gd name="connsiteX103" fmla="*/ 150164 w 196170"/>
              <a:gd name="connsiteY103" fmla="*/ 156408 h 195988"/>
              <a:gd name="connsiteX104" fmla="*/ 150164 w 196170"/>
              <a:gd name="connsiteY104" fmla="*/ 166622 h 195988"/>
              <a:gd name="connsiteX105" fmla="*/ 95849 w 196170"/>
              <a:gd name="connsiteY105" fmla="*/ 166622 h 195988"/>
              <a:gd name="connsiteX106" fmla="*/ 95849 w 196170"/>
              <a:gd name="connsiteY106" fmla="*/ 156408 h 195988"/>
              <a:gd name="connsiteX107" fmla="*/ 89459 w 196170"/>
              <a:gd name="connsiteY107" fmla="*/ 150024 h 195988"/>
              <a:gd name="connsiteX108" fmla="*/ 78596 w 196170"/>
              <a:gd name="connsiteY108" fmla="*/ 150024 h 195988"/>
              <a:gd name="connsiteX109" fmla="*/ 79235 w 196170"/>
              <a:gd name="connsiteY109" fmla="*/ 148108 h 195988"/>
              <a:gd name="connsiteX110" fmla="*/ 79235 w 196170"/>
              <a:gd name="connsiteY110" fmla="*/ 129595 h 195988"/>
              <a:gd name="connsiteX111" fmla="*/ 97766 w 196170"/>
              <a:gd name="connsiteY111" fmla="*/ 129595 h 195988"/>
              <a:gd name="connsiteX112" fmla="*/ 99683 w 196170"/>
              <a:gd name="connsiteY112" fmla="*/ 128956 h 195988"/>
              <a:gd name="connsiteX113" fmla="*/ 99683 w 196170"/>
              <a:gd name="connsiteY113" fmla="*/ 139809 h 195988"/>
              <a:gd name="connsiteX114" fmla="*/ 106073 w 196170"/>
              <a:gd name="connsiteY114" fmla="*/ 146193 h 195988"/>
              <a:gd name="connsiteX115" fmla="*/ 139300 w 196170"/>
              <a:gd name="connsiteY115" fmla="*/ 146193 h 195988"/>
              <a:gd name="connsiteX116" fmla="*/ 145690 w 196170"/>
              <a:gd name="connsiteY116" fmla="*/ 139809 h 195988"/>
              <a:gd name="connsiteX117" fmla="*/ 145690 w 196170"/>
              <a:gd name="connsiteY117" fmla="*/ 106612 h 195988"/>
              <a:gd name="connsiteX118" fmla="*/ 139300 w 196170"/>
              <a:gd name="connsiteY118" fmla="*/ 100228 h 195988"/>
              <a:gd name="connsiteX119" fmla="*/ 129076 w 196170"/>
              <a:gd name="connsiteY119" fmla="*/ 100228 h 195988"/>
              <a:gd name="connsiteX120" fmla="*/ 129076 w 196170"/>
              <a:gd name="connsiteY120" fmla="*/ 79800 h 195988"/>
              <a:gd name="connsiteX121" fmla="*/ 149524 w 196170"/>
              <a:gd name="connsiteY121" fmla="*/ 79800 h 195988"/>
              <a:gd name="connsiteX122" fmla="*/ 149524 w 196170"/>
              <a:gd name="connsiteY122" fmla="*/ 90014 h 195988"/>
              <a:gd name="connsiteX123" fmla="*/ 155914 w 196170"/>
              <a:gd name="connsiteY123" fmla="*/ 96398 h 195988"/>
              <a:gd name="connsiteX124" fmla="*/ 166138 w 196170"/>
              <a:gd name="connsiteY124" fmla="*/ 96398 h 195988"/>
              <a:gd name="connsiteX125" fmla="*/ 166138 w 196170"/>
              <a:gd name="connsiteY125" fmla="*/ 150024 h 195988"/>
              <a:gd name="connsiteX126" fmla="*/ 183391 w 196170"/>
              <a:gd name="connsiteY126" fmla="*/ 82992 h 195988"/>
              <a:gd name="connsiteX127" fmla="*/ 162943 w 196170"/>
              <a:gd name="connsiteY127" fmla="*/ 82992 h 195988"/>
              <a:gd name="connsiteX128" fmla="*/ 162943 w 196170"/>
              <a:gd name="connsiteY128" fmla="*/ 62563 h 195988"/>
              <a:gd name="connsiteX129" fmla="*/ 183391 w 196170"/>
              <a:gd name="connsiteY129" fmla="*/ 62563 h 195988"/>
              <a:gd name="connsiteX130" fmla="*/ 183391 w 196170"/>
              <a:gd name="connsiteY130" fmla="*/ 82992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96170" h="195988">
                <a:moveTo>
                  <a:pt x="189781" y="49795"/>
                </a:moveTo>
                <a:lnTo>
                  <a:pt x="156553" y="49795"/>
                </a:lnTo>
                <a:cubicBezTo>
                  <a:pt x="152719" y="49795"/>
                  <a:pt x="150164" y="52349"/>
                  <a:pt x="150164" y="56179"/>
                </a:cubicBezTo>
                <a:lnTo>
                  <a:pt x="150164" y="66393"/>
                </a:lnTo>
                <a:lnTo>
                  <a:pt x="129715" y="66393"/>
                </a:lnTo>
                <a:lnTo>
                  <a:pt x="129715" y="45965"/>
                </a:lnTo>
                <a:lnTo>
                  <a:pt x="139939" y="45965"/>
                </a:lnTo>
                <a:cubicBezTo>
                  <a:pt x="143774" y="45965"/>
                  <a:pt x="146329" y="43411"/>
                  <a:pt x="146329" y="39581"/>
                </a:cubicBezTo>
                <a:lnTo>
                  <a:pt x="146329" y="6384"/>
                </a:lnTo>
                <a:cubicBezTo>
                  <a:pt x="146329" y="2554"/>
                  <a:pt x="143774" y="0"/>
                  <a:pt x="139939" y="0"/>
                </a:cubicBezTo>
                <a:lnTo>
                  <a:pt x="106712" y="0"/>
                </a:lnTo>
                <a:cubicBezTo>
                  <a:pt x="102878" y="0"/>
                  <a:pt x="100322" y="2554"/>
                  <a:pt x="100322" y="6384"/>
                </a:cubicBezTo>
                <a:lnTo>
                  <a:pt x="100322" y="16598"/>
                </a:lnTo>
                <a:lnTo>
                  <a:pt x="46007" y="16598"/>
                </a:lnTo>
                <a:lnTo>
                  <a:pt x="46007" y="6384"/>
                </a:lnTo>
                <a:cubicBezTo>
                  <a:pt x="46007" y="2554"/>
                  <a:pt x="43451" y="0"/>
                  <a:pt x="39617" y="0"/>
                </a:cubicBezTo>
                <a:lnTo>
                  <a:pt x="6390" y="0"/>
                </a:lnTo>
                <a:cubicBezTo>
                  <a:pt x="2555" y="0"/>
                  <a:pt x="0" y="2554"/>
                  <a:pt x="0" y="6384"/>
                </a:cubicBezTo>
                <a:lnTo>
                  <a:pt x="0" y="39581"/>
                </a:lnTo>
                <a:cubicBezTo>
                  <a:pt x="0" y="43411"/>
                  <a:pt x="2555" y="45965"/>
                  <a:pt x="6390" y="45965"/>
                </a:cubicBezTo>
                <a:lnTo>
                  <a:pt x="16614" y="45965"/>
                </a:lnTo>
                <a:lnTo>
                  <a:pt x="16614" y="100228"/>
                </a:lnTo>
                <a:lnTo>
                  <a:pt x="6390" y="100228"/>
                </a:lnTo>
                <a:cubicBezTo>
                  <a:pt x="2555" y="100228"/>
                  <a:pt x="0" y="102782"/>
                  <a:pt x="0" y="106612"/>
                </a:cubicBezTo>
                <a:lnTo>
                  <a:pt x="0" y="139809"/>
                </a:lnTo>
                <a:cubicBezTo>
                  <a:pt x="0" y="143640"/>
                  <a:pt x="2555" y="146193"/>
                  <a:pt x="6390" y="146193"/>
                </a:cubicBezTo>
                <a:lnTo>
                  <a:pt x="39617" y="146193"/>
                </a:lnTo>
                <a:cubicBezTo>
                  <a:pt x="43451" y="146193"/>
                  <a:pt x="46007" y="143640"/>
                  <a:pt x="46007" y="139809"/>
                </a:cubicBezTo>
                <a:lnTo>
                  <a:pt x="46007" y="129595"/>
                </a:lnTo>
                <a:lnTo>
                  <a:pt x="66455" y="129595"/>
                </a:lnTo>
                <a:lnTo>
                  <a:pt x="66455" y="148108"/>
                </a:lnTo>
                <a:cubicBezTo>
                  <a:pt x="66455" y="148747"/>
                  <a:pt x="66455" y="149385"/>
                  <a:pt x="67094" y="150024"/>
                </a:cubicBezTo>
                <a:lnTo>
                  <a:pt x="56231" y="150024"/>
                </a:lnTo>
                <a:cubicBezTo>
                  <a:pt x="52397" y="150024"/>
                  <a:pt x="49841" y="152577"/>
                  <a:pt x="49841" y="156408"/>
                </a:cubicBezTo>
                <a:lnTo>
                  <a:pt x="49841" y="189604"/>
                </a:lnTo>
                <a:cubicBezTo>
                  <a:pt x="49841" y="193435"/>
                  <a:pt x="52397" y="195988"/>
                  <a:pt x="56231" y="195988"/>
                </a:cubicBezTo>
                <a:lnTo>
                  <a:pt x="89459" y="195988"/>
                </a:lnTo>
                <a:cubicBezTo>
                  <a:pt x="93293" y="195988"/>
                  <a:pt x="95849" y="193435"/>
                  <a:pt x="95849" y="189604"/>
                </a:cubicBezTo>
                <a:lnTo>
                  <a:pt x="95849" y="179390"/>
                </a:lnTo>
                <a:lnTo>
                  <a:pt x="150164" y="179390"/>
                </a:lnTo>
                <a:lnTo>
                  <a:pt x="150164" y="189604"/>
                </a:lnTo>
                <a:cubicBezTo>
                  <a:pt x="150164" y="193435"/>
                  <a:pt x="152719" y="195988"/>
                  <a:pt x="156553" y="195988"/>
                </a:cubicBezTo>
                <a:lnTo>
                  <a:pt x="189781" y="195988"/>
                </a:lnTo>
                <a:cubicBezTo>
                  <a:pt x="193615" y="195988"/>
                  <a:pt x="196171" y="193435"/>
                  <a:pt x="196171" y="189604"/>
                </a:cubicBezTo>
                <a:lnTo>
                  <a:pt x="196171" y="156408"/>
                </a:lnTo>
                <a:cubicBezTo>
                  <a:pt x="196171" y="152577"/>
                  <a:pt x="193615" y="150024"/>
                  <a:pt x="189781" y="150024"/>
                </a:cubicBezTo>
                <a:lnTo>
                  <a:pt x="179557" y="150024"/>
                </a:lnTo>
                <a:lnTo>
                  <a:pt x="179557" y="95760"/>
                </a:lnTo>
                <a:lnTo>
                  <a:pt x="189781" y="95760"/>
                </a:lnTo>
                <a:cubicBezTo>
                  <a:pt x="193615" y="95760"/>
                  <a:pt x="196171" y="93206"/>
                  <a:pt x="196171" y="89376"/>
                </a:cubicBezTo>
                <a:lnTo>
                  <a:pt x="196171" y="56179"/>
                </a:lnTo>
                <a:cubicBezTo>
                  <a:pt x="196171" y="52349"/>
                  <a:pt x="192976" y="49795"/>
                  <a:pt x="189781" y="49795"/>
                </a:cubicBezTo>
                <a:close/>
                <a:moveTo>
                  <a:pt x="132910" y="112358"/>
                </a:moveTo>
                <a:lnTo>
                  <a:pt x="132910" y="132787"/>
                </a:lnTo>
                <a:lnTo>
                  <a:pt x="112463" y="132787"/>
                </a:lnTo>
                <a:lnTo>
                  <a:pt x="112463" y="112358"/>
                </a:lnTo>
                <a:lnTo>
                  <a:pt x="132910" y="112358"/>
                </a:lnTo>
                <a:close/>
                <a:moveTo>
                  <a:pt x="112463" y="12130"/>
                </a:moveTo>
                <a:lnTo>
                  <a:pt x="132910" y="12130"/>
                </a:lnTo>
                <a:lnTo>
                  <a:pt x="132910" y="32558"/>
                </a:lnTo>
                <a:lnTo>
                  <a:pt x="112463" y="32558"/>
                </a:lnTo>
                <a:lnTo>
                  <a:pt x="112463" y="12130"/>
                </a:lnTo>
                <a:close/>
                <a:moveTo>
                  <a:pt x="11501" y="12130"/>
                </a:moveTo>
                <a:lnTo>
                  <a:pt x="31950" y="12130"/>
                </a:lnTo>
                <a:lnTo>
                  <a:pt x="31950" y="32558"/>
                </a:lnTo>
                <a:lnTo>
                  <a:pt x="11501" y="32558"/>
                </a:lnTo>
                <a:lnTo>
                  <a:pt x="11501" y="12130"/>
                </a:lnTo>
                <a:close/>
                <a:moveTo>
                  <a:pt x="32589" y="133425"/>
                </a:moveTo>
                <a:lnTo>
                  <a:pt x="12140" y="133425"/>
                </a:lnTo>
                <a:lnTo>
                  <a:pt x="12140" y="112996"/>
                </a:lnTo>
                <a:lnTo>
                  <a:pt x="32589" y="112996"/>
                </a:lnTo>
                <a:lnTo>
                  <a:pt x="32589" y="133425"/>
                </a:lnTo>
                <a:close/>
                <a:moveTo>
                  <a:pt x="38978" y="99590"/>
                </a:moveTo>
                <a:lnTo>
                  <a:pt x="28755" y="99590"/>
                </a:lnTo>
                <a:lnTo>
                  <a:pt x="28755" y="45326"/>
                </a:lnTo>
                <a:lnTo>
                  <a:pt x="38978" y="45326"/>
                </a:lnTo>
                <a:cubicBezTo>
                  <a:pt x="42812" y="45326"/>
                  <a:pt x="45368" y="42773"/>
                  <a:pt x="45368" y="38942"/>
                </a:cubicBezTo>
                <a:lnTo>
                  <a:pt x="45368" y="28089"/>
                </a:lnTo>
                <a:lnTo>
                  <a:pt x="99683" y="28089"/>
                </a:lnTo>
                <a:lnTo>
                  <a:pt x="99683" y="38304"/>
                </a:lnTo>
                <a:cubicBezTo>
                  <a:pt x="99683" y="42134"/>
                  <a:pt x="102239" y="44688"/>
                  <a:pt x="106073" y="44688"/>
                </a:cubicBezTo>
                <a:lnTo>
                  <a:pt x="116297" y="44688"/>
                </a:lnTo>
                <a:lnTo>
                  <a:pt x="116297" y="98952"/>
                </a:lnTo>
                <a:lnTo>
                  <a:pt x="106073" y="98952"/>
                </a:lnTo>
                <a:cubicBezTo>
                  <a:pt x="102239" y="98952"/>
                  <a:pt x="99683" y="101505"/>
                  <a:pt x="99683" y="105336"/>
                </a:cubicBezTo>
                <a:lnTo>
                  <a:pt x="99683" y="116188"/>
                </a:lnTo>
                <a:cubicBezTo>
                  <a:pt x="99044" y="116188"/>
                  <a:pt x="98404" y="115550"/>
                  <a:pt x="97766" y="115550"/>
                </a:cubicBezTo>
                <a:lnTo>
                  <a:pt x="45368" y="115550"/>
                </a:lnTo>
                <a:lnTo>
                  <a:pt x="45368" y="105336"/>
                </a:lnTo>
                <a:cubicBezTo>
                  <a:pt x="45368" y="102782"/>
                  <a:pt x="42173" y="99590"/>
                  <a:pt x="38978" y="99590"/>
                </a:cubicBezTo>
                <a:lnTo>
                  <a:pt x="38978" y="99590"/>
                </a:lnTo>
                <a:close/>
                <a:moveTo>
                  <a:pt x="83069" y="183859"/>
                </a:moveTo>
                <a:lnTo>
                  <a:pt x="62621" y="183859"/>
                </a:lnTo>
                <a:lnTo>
                  <a:pt x="62621" y="163430"/>
                </a:lnTo>
                <a:lnTo>
                  <a:pt x="83069" y="163430"/>
                </a:lnTo>
                <a:lnTo>
                  <a:pt x="83069" y="183859"/>
                </a:lnTo>
                <a:close/>
                <a:moveTo>
                  <a:pt x="183391" y="183859"/>
                </a:moveTo>
                <a:lnTo>
                  <a:pt x="162943" y="183859"/>
                </a:lnTo>
                <a:lnTo>
                  <a:pt x="162943" y="163430"/>
                </a:lnTo>
                <a:lnTo>
                  <a:pt x="183391" y="163430"/>
                </a:lnTo>
                <a:lnTo>
                  <a:pt x="183391" y="183859"/>
                </a:lnTo>
                <a:close/>
                <a:moveTo>
                  <a:pt x="166777" y="150024"/>
                </a:moveTo>
                <a:lnTo>
                  <a:pt x="156553" y="150024"/>
                </a:lnTo>
                <a:cubicBezTo>
                  <a:pt x="152719" y="150024"/>
                  <a:pt x="150164" y="152577"/>
                  <a:pt x="150164" y="156408"/>
                </a:cubicBezTo>
                <a:lnTo>
                  <a:pt x="150164" y="166622"/>
                </a:lnTo>
                <a:lnTo>
                  <a:pt x="95849" y="166622"/>
                </a:lnTo>
                <a:lnTo>
                  <a:pt x="95849" y="156408"/>
                </a:lnTo>
                <a:cubicBezTo>
                  <a:pt x="95849" y="152577"/>
                  <a:pt x="93293" y="150024"/>
                  <a:pt x="89459" y="150024"/>
                </a:cubicBezTo>
                <a:lnTo>
                  <a:pt x="78596" y="150024"/>
                </a:lnTo>
                <a:cubicBezTo>
                  <a:pt x="78596" y="149385"/>
                  <a:pt x="79235" y="148747"/>
                  <a:pt x="79235" y="148108"/>
                </a:cubicBezTo>
                <a:lnTo>
                  <a:pt x="79235" y="129595"/>
                </a:lnTo>
                <a:lnTo>
                  <a:pt x="97766" y="129595"/>
                </a:lnTo>
                <a:cubicBezTo>
                  <a:pt x="98404" y="129595"/>
                  <a:pt x="99044" y="129595"/>
                  <a:pt x="99683" y="128956"/>
                </a:cubicBezTo>
                <a:lnTo>
                  <a:pt x="99683" y="139809"/>
                </a:lnTo>
                <a:cubicBezTo>
                  <a:pt x="99683" y="143640"/>
                  <a:pt x="102239" y="146193"/>
                  <a:pt x="106073" y="146193"/>
                </a:cubicBezTo>
                <a:lnTo>
                  <a:pt x="139300" y="146193"/>
                </a:lnTo>
                <a:cubicBezTo>
                  <a:pt x="143134" y="146193"/>
                  <a:pt x="145690" y="143640"/>
                  <a:pt x="145690" y="139809"/>
                </a:cubicBezTo>
                <a:lnTo>
                  <a:pt x="145690" y="106612"/>
                </a:lnTo>
                <a:cubicBezTo>
                  <a:pt x="145690" y="102782"/>
                  <a:pt x="143134" y="100228"/>
                  <a:pt x="139300" y="100228"/>
                </a:cubicBezTo>
                <a:lnTo>
                  <a:pt x="129076" y="100228"/>
                </a:lnTo>
                <a:lnTo>
                  <a:pt x="129076" y="79800"/>
                </a:lnTo>
                <a:lnTo>
                  <a:pt x="149524" y="79800"/>
                </a:lnTo>
                <a:lnTo>
                  <a:pt x="149524" y="90014"/>
                </a:lnTo>
                <a:cubicBezTo>
                  <a:pt x="149524" y="93844"/>
                  <a:pt x="152080" y="96398"/>
                  <a:pt x="155914" y="96398"/>
                </a:cubicBezTo>
                <a:lnTo>
                  <a:pt x="166138" y="96398"/>
                </a:lnTo>
                <a:lnTo>
                  <a:pt x="166138" y="150024"/>
                </a:lnTo>
                <a:close/>
                <a:moveTo>
                  <a:pt x="183391" y="82992"/>
                </a:moveTo>
                <a:lnTo>
                  <a:pt x="162943" y="82992"/>
                </a:lnTo>
                <a:lnTo>
                  <a:pt x="162943" y="62563"/>
                </a:lnTo>
                <a:lnTo>
                  <a:pt x="183391" y="62563"/>
                </a:lnTo>
                <a:lnTo>
                  <a:pt x="183391" y="82992"/>
                </a:lnTo>
                <a:close/>
              </a:path>
            </a:pathLst>
          </a:custGeom>
          <a:solidFill>
            <a:schemeClr val="bg1"/>
          </a:solidFill>
          <a:ln w="3373" cap="flat">
            <a:noFill/>
            <a:prstDash val="solid"/>
            <a:miter/>
          </a:ln>
        </p:spPr>
        <p:txBody>
          <a:bodyPr rtlCol="0" anchor="ctr"/>
          <a:lstStyle/>
          <a:p>
            <a:endParaRPr lang="en-US"/>
          </a:p>
        </p:txBody>
      </p:sp>
      <p:grpSp>
        <p:nvGrpSpPr>
          <p:cNvPr id="36" name="Graphic 4">
            <a:extLst>
              <a:ext uri="{FF2B5EF4-FFF2-40B4-BE49-F238E27FC236}">
                <a16:creationId xmlns:a16="http://schemas.microsoft.com/office/drawing/2014/main" id="{B168ACD4-8083-999D-6E33-0E590A9C0318}"/>
              </a:ext>
            </a:extLst>
          </p:cNvPr>
          <p:cNvGrpSpPr>
            <a:grpSpLocks noChangeAspect="1"/>
          </p:cNvGrpSpPr>
          <p:nvPr/>
        </p:nvGrpSpPr>
        <p:grpSpPr>
          <a:xfrm>
            <a:off x="445542" y="3662450"/>
            <a:ext cx="288000" cy="191290"/>
            <a:chOff x="2626264" y="1990049"/>
            <a:chExt cx="230676" cy="153216"/>
          </a:xfrm>
          <a:solidFill>
            <a:schemeClr val="accent1">
              <a:lumMod val="40000"/>
              <a:lumOff val="60000"/>
            </a:schemeClr>
          </a:solidFill>
        </p:grpSpPr>
        <p:sp>
          <p:nvSpPr>
            <p:cNvPr id="37" name="Graphic 4">
              <a:extLst>
                <a:ext uri="{FF2B5EF4-FFF2-40B4-BE49-F238E27FC236}">
                  <a16:creationId xmlns:a16="http://schemas.microsoft.com/office/drawing/2014/main" id="{9698A0D4-5C97-E5F7-0643-13FB786039DA}"/>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198EF0EA-1BD7-250F-DF1C-FB4629F63A62}"/>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39" name="Graphic 4">
              <a:extLst>
                <a:ext uri="{FF2B5EF4-FFF2-40B4-BE49-F238E27FC236}">
                  <a16:creationId xmlns:a16="http://schemas.microsoft.com/office/drawing/2014/main" id="{7CE33814-EF9B-261B-68E5-2F873F416429}"/>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26D0B785-3E8C-AE77-59F9-961CB676F8C0}"/>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99F5E296-496F-AEAE-CE88-BBBF332223AF}"/>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86981AF4-B65F-B950-3147-30B3378FF551}"/>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sp>
        <p:nvSpPr>
          <p:cNvPr id="68" name="Rectangle: Rounded Corners 67">
            <a:extLst>
              <a:ext uri="{FF2B5EF4-FFF2-40B4-BE49-F238E27FC236}">
                <a16:creationId xmlns:a16="http://schemas.microsoft.com/office/drawing/2014/main" id="{A4DE1990-98BB-3931-DB0F-9CB736D38381}"/>
              </a:ext>
            </a:extLst>
          </p:cNvPr>
          <p:cNvSpPr/>
          <p:nvPr/>
        </p:nvSpPr>
        <p:spPr>
          <a:xfrm>
            <a:off x="374072" y="3363246"/>
            <a:ext cx="812507" cy="683616"/>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85" name="Graphic 4">
            <a:extLst>
              <a:ext uri="{FF2B5EF4-FFF2-40B4-BE49-F238E27FC236}">
                <a16:creationId xmlns:a16="http://schemas.microsoft.com/office/drawing/2014/main" id="{3C0CFB98-B171-9AE9-44E1-00CC97A84547}"/>
              </a:ext>
            </a:extLst>
          </p:cNvPr>
          <p:cNvGrpSpPr>
            <a:grpSpLocks noChangeAspect="1"/>
          </p:cNvGrpSpPr>
          <p:nvPr/>
        </p:nvGrpSpPr>
        <p:grpSpPr>
          <a:xfrm>
            <a:off x="454680" y="3586406"/>
            <a:ext cx="325205" cy="215999"/>
            <a:chOff x="2626264" y="1990049"/>
            <a:chExt cx="230676" cy="153216"/>
          </a:xfrm>
          <a:solidFill>
            <a:schemeClr val="bg1"/>
          </a:solidFill>
        </p:grpSpPr>
        <p:sp>
          <p:nvSpPr>
            <p:cNvPr id="86" name="Graphic 4">
              <a:extLst>
                <a:ext uri="{FF2B5EF4-FFF2-40B4-BE49-F238E27FC236}">
                  <a16:creationId xmlns:a16="http://schemas.microsoft.com/office/drawing/2014/main" id="{018F8B9F-4ADF-2F7D-EB88-E3D93D325DF7}"/>
                </a:ext>
              </a:extLst>
            </p:cNvPr>
            <p:cNvSpPr/>
            <p:nvPr/>
          </p:nvSpPr>
          <p:spPr>
            <a:xfrm>
              <a:off x="2626264" y="1990049"/>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3192"/>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C367DB95-843A-ADF1-EC41-6A88BE376C05}"/>
                </a:ext>
              </a:extLst>
            </p:cNvPr>
            <p:cNvSpPr/>
            <p:nvPr/>
          </p:nvSpPr>
          <p:spPr>
            <a:xfrm>
              <a:off x="2711889" y="1990049"/>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B9B0BC97-5E60-E251-73EA-4E375624F7E1}"/>
                </a:ext>
              </a:extLst>
            </p:cNvPr>
            <p:cNvSpPr/>
            <p:nvPr/>
          </p:nvSpPr>
          <p:spPr>
            <a:xfrm>
              <a:off x="2711889" y="2028992"/>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C2130566-E1A0-1572-7CD1-E68889DDB36D}"/>
                </a:ext>
              </a:extLst>
            </p:cNvPr>
            <p:cNvSpPr/>
            <p:nvPr/>
          </p:nvSpPr>
          <p:spPr>
            <a:xfrm>
              <a:off x="2626264" y="2091555"/>
              <a:ext cx="51758" cy="51710"/>
            </a:xfrm>
            <a:custGeom>
              <a:avLst/>
              <a:gdLst>
                <a:gd name="connsiteX0" fmla="*/ 45369 w 51758"/>
                <a:gd name="connsiteY0" fmla="*/ 0 h 51710"/>
                <a:gd name="connsiteX1" fmla="*/ 6390 w 51758"/>
                <a:gd name="connsiteY1" fmla="*/ 0 h 51710"/>
                <a:gd name="connsiteX2" fmla="*/ 0 w 51758"/>
                <a:gd name="connsiteY2" fmla="*/ 6384 h 51710"/>
                <a:gd name="connsiteX3" fmla="*/ 0 w 51758"/>
                <a:gd name="connsiteY3" fmla="*/ 45326 h 51710"/>
                <a:gd name="connsiteX4" fmla="*/ 6390 w 51758"/>
                <a:gd name="connsiteY4" fmla="*/ 51710 h 51710"/>
                <a:gd name="connsiteX5" fmla="*/ 45369 w 51758"/>
                <a:gd name="connsiteY5" fmla="*/ 51710 h 51710"/>
                <a:gd name="connsiteX6" fmla="*/ 51759 w 51758"/>
                <a:gd name="connsiteY6" fmla="*/ 45326 h 51710"/>
                <a:gd name="connsiteX7" fmla="*/ 51759 w 51758"/>
                <a:gd name="connsiteY7" fmla="*/ 6384 h 51710"/>
                <a:gd name="connsiteX8" fmla="*/ 45369 w 51758"/>
                <a:gd name="connsiteY8" fmla="*/ 0 h 51710"/>
                <a:gd name="connsiteX9" fmla="*/ 38979 w 51758"/>
                <a:gd name="connsiteY9" fmla="*/ 38942 h 51710"/>
                <a:gd name="connsiteX10" fmla="*/ 12780 w 51758"/>
                <a:gd name="connsiteY10" fmla="*/ 38942 h 51710"/>
                <a:gd name="connsiteX11" fmla="*/ 12780 w 51758"/>
                <a:gd name="connsiteY11" fmla="*/ 12768 h 51710"/>
                <a:gd name="connsiteX12" fmla="*/ 38979 w 51758"/>
                <a:gd name="connsiteY12" fmla="*/ 12768 h 51710"/>
                <a:gd name="connsiteX13" fmla="*/ 38979 w 51758"/>
                <a:gd name="connsiteY13" fmla="*/ 38942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758" h="51710">
                  <a:moveTo>
                    <a:pt x="45369" y="0"/>
                  </a:moveTo>
                  <a:lnTo>
                    <a:pt x="6390" y="0"/>
                  </a:lnTo>
                  <a:cubicBezTo>
                    <a:pt x="2556" y="0"/>
                    <a:pt x="0" y="2554"/>
                    <a:pt x="0" y="6384"/>
                  </a:cubicBezTo>
                  <a:lnTo>
                    <a:pt x="0" y="45326"/>
                  </a:lnTo>
                  <a:cubicBezTo>
                    <a:pt x="0" y="49157"/>
                    <a:pt x="2556" y="51710"/>
                    <a:pt x="6390" y="51710"/>
                  </a:cubicBezTo>
                  <a:lnTo>
                    <a:pt x="45369" y="51710"/>
                  </a:lnTo>
                  <a:cubicBezTo>
                    <a:pt x="49203" y="51710"/>
                    <a:pt x="51759" y="49157"/>
                    <a:pt x="51759" y="45326"/>
                  </a:cubicBezTo>
                  <a:lnTo>
                    <a:pt x="51759" y="6384"/>
                  </a:lnTo>
                  <a:cubicBezTo>
                    <a:pt x="51759" y="2554"/>
                    <a:pt x="48564" y="0"/>
                    <a:pt x="45369" y="0"/>
                  </a:cubicBezTo>
                  <a:close/>
                  <a:moveTo>
                    <a:pt x="38979" y="38942"/>
                  </a:moveTo>
                  <a:lnTo>
                    <a:pt x="12780" y="38942"/>
                  </a:lnTo>
                  <a:lnTo>
                    <a:pt x="12780" y="12768"/>
                  </a:lnTo>
                  <a:lnTo>
                    <a:pt x="38979" y="12768"/>
                  </a:lnTo>
                  <a:lnTo>
                    <a:pt x="38979" y="38942"/>
                  </a:lnTo>
                  <a:close/>
                </a:path>
              </a:pathLst>
            </a:custGeom>
            <a:grpFill/>
            <a:ln w="3373"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3DCB35FE-76CB-DF1B-B3D4-23E10FA0DBEE}"/>
                </a:ext>
              </a:extLst>
            </p:cNvPr>
            <p:cNvSpPr/>
            <p:nvPr/>
          </p:nvSpPr>
          <p:spPr>
            <a:xfrm>
              <a:off x="2711889" y="2091555"/>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44C83E49-CB85-2C3B-AC03-120C38AFDFF6}"/>
                </a:ext>
              </a:extLst>
            </p:cNvPr>
            <p:cNvSpPr/>
            <p:nvPr/>
          </p:nvSpPr>
          <p:spPr>
            <a:xfrm>
              <a:off x="2711889" y="2130497"/>
              <a:ext cx="145051" cy="12767"/>
            </a:xfrm>
            <a:custGeom>
              <a:avLst/>
              <a:gdLst>
                <a:gd name="connsiteX0" fmla="*/ 138662 w 145051"/>
                <a:gd name="connsiteY0" fmla="*/ 0 h 12767"/>
                <a:gd name="connsiteX1" fmla="*/ 6390 w 145051"/>
                <a:gd name="connsiteY1" fmla="*/ 0 h 12767"/>
                <a:gd name="connsiteX2" fmla="*/ 0 w 145051"/>
                <a:gd name="connsiteY2" fmla="*/ 6384 h 12767"/>
                <a:gd name="connsiteX3" fmla="*/ 6390 w 145051"/>
                <a:gd name="connsiteY3" fmla="*/ 12768 h 12767"/>
                <a:gd name="connsiteX4" fmla="*/ 138662 w 145051"/>
                <a:gd name="connsiteY4" fmla="*/ 12768 h 12767"/>
                <a:gd name="connsiteX5" fmla="*/ 145052 w 145051"/>
                <a:gd name="connsiteY5" fmla="*/ 6384 h 12767"/>
                <a:gd name="connsiteX6" fmla="*/ 138662 w 145051"/>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1" h="12767">
                  <a:moveTo>
                    <a:pt x="138662" y="0"/>
                  </a:moveTo>
                  <a:lnTo>
                    <a:pt x="6390" y="0"/>
                  </a:lnTo>
                  <a:cubicBezTo>
                    <a:pt x="2556" y="0"/>
                    <a:pt x="0" y="2554"/>
                    <a:pt x="0" y="6384"/>
                  </a:cubicBezTo>
                  <a:cubicBezTo>
                    <a:pt x="0" y="10214"/>
                    <a:pt x="2556" y="12768"/>
                    <a:pt x="6390" y="12768"/>
                  </a:cubicBezTo>
                  <a:lnTo>
                    <a:pt x="138662" y="12768"/>
                  </a:lnTo>
                  <a:cubicBezTo>
                    <a:pt x="142496" y="12768"/>
                    <a:pt x="145052" y="10214"/>
                    <a:pt x="145052" y="6384"/>
                  </a:cubicBezTo>
                  <a:cubicBezTo>
                    <a:pt x="145052" y="2554"/>
                    <a:pt x="142496" y="0"/>
                    <a:pt x="138662" y="0"/>
                  </a:cubicBezTo>
                  <a:close/>
                </a:path>
              </a:pathLst>
            </a:custGeom>
            <a:grpFill/>
            <a:ln w="3373" cap="flat">
              <a:noFill/>
              <a:prstDash val="solid"/>
              <a:miter/>
            </a:ln>
          </p:spPr>
          <p:txBody>
            <a:bodyPr rtlCol="0" anchor="ctr"/>
            <a:lstStyle/>
            <a:p>
              <a:endParaRPr lang="en-US"/>
            </a:p>
          </p:txBody>
        </p:sp>
      </p:grpSp>
      <p:pic>
        <p:nvPicPr>
          <p:cNvPr id="92" name="Graphic 91" descr="Upward trend with solid fill">
            <a:extLst>
              <a:ext uri="{FF2B5EF4-FFF2-40B4-BE49-F238E27FC236}">
                <a16:creationId xmlns:a16="http://schemas.microsoft.com/office/drawing/2014/main" id="{389AAA63-3E4C-37B3-D697-B5B9061923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971" y="774249"/>
            <a:ext cx="396000" cy="396000"/>
          </a:xfrm>
          <a:prstGeom prst="rect">
            <a:avLst/>
          </a:prstGeom>
        </p:spPr>
      </p:pic>
      <p:grpSp>
        <p:nvGrpSpPr>
          <p:cNvPr id="93" name="Graphic 4">
            <a:extLst>
              <a:ext uri="{FF2B5EF4-FFF2-40B4-BE49-F238E27FC236}">
                <a16:creationId xmlns:a16="http://schemas.microsoft.com/office/drawing/2014/main" id="{F2EC349B-B9DC-36ED-E049-8F7307B55C59}"/>
              </a:ext>
            </a:extLst>
          </p:cNvPr>
          <p:cNvGrpSpPr>
            <a:grpSpLocks noChangeAspect="1"/>
          </p:cNvGrpSpPr>
          <p:nvPr/>
        </p:nvGrpSpPr>
        <p:grpSpPr>
          <a:xfrm>
            <a:off x="421294" y="952548"/>
            <a:ext cx="287999" cy="276915"/>
            <a:chOff x="1573681" y="2918430"/>
            <a:chExt cx="246172" cy="236696"/>
          </a:xfrm>
          <a:solidFill>
            <a:schemeClr val="accent1">
              <a:lumMod val="40000"/>
              <a:lumOff val="60000"/>
            </a:schemeClr>
          </a:solidFill>
        </p:grpSpPr>
        <p:sp>
          <p:nvSpPr>
            <p:cNvPr id="94" name="Graphic 4">
              <a:extLst>
                <a:ext uri="{FF2B5EF4-FFF2-40B4-BE49-F238E27FC236}">
                  <a16:creationId xmlns:a16="http://schemas.microsoft.com/office/drawing/2014/main" id="{A51E7939-165B-F656-3BA5-795D04036A28}"/>
                </a:ext>
              </a:extLst>
            </p:cNvPr>
            <p:cNvSpPr/>
            <p:nvPr/>
          </p:nvSpPr>
          <p:spPr>
            <a:xfrm>
              <a:off x="1711374" y="2965400"/>
              <a:ext cx="108479" cy="109288"/>
            </a:xfrm>
            <a:custGeom>
              <a:avLst/>
              <a:gdLst>
                <a:gd name="connsiteX0" fmla="*/ 107841 w 108479"/>
                <a:gd name="connsiteY0" fmla="*/ 47364 h 109288"/>
                <a:gd name="connsiteX1" fmla="*/ 102090 w 108479"/>
                <a:gd name="connsiteY1" fmla="*/ 39703 h 109288"/>
                <a:gd name="connsiteX2" fmla="*/ 96978 w 108479"/>
                <a:gd name="connsiteY2" fmla="*/ 38426 h 109288"/>
                <a:gd name="connsiteX3" fmla="*/ 95700 w 108479"/>
                <a:gd name="connsiteY3" fmla="*/ 35234 h 109288"/>
                <a:gd name="connsiteX4" fmla="*/ 98256 w 108479"/>
                <a:gd name="connsiteY4" fmla="*/ 30766 h 109288"/>
                <a:gd name="connsiteX5" fmla="*/ 96978 w 108479"/>
                <a:gd name="connsiteY5" fmla="*/ 21190 h 109288"/>
                <a:gd name="connsiteX6" fmla="*/ 90588 w 108479"/>
                <a:gd name="connsiteY6" fmla="*/ 14167 h 109288"/>
                <a:gd name="connsiteX7" fmla="*/ 81003 w 108479"/>
                <a:gd name="connsiteY7" fmla="*/ 12252 h 109288"/>
                <a:gd name="connsiteX8" fmla="*/ 76530 w 108479"/>
                <a:gd name="connsiteY8" fmla="*/ 14167 h 109288"/>
                <a:gd name="connsiteX9" fmla="*/ 73974 w 108479"/>
                <a:gd name="connsiteY9" fmla="*/ 12890 h 109288"/>
                <a:gd name="connsiteX10" fmla="*/ 73335 w 108479"/>
                <a:gd name="connsiteY10" fmla="*/ 7783 h 109288"/>
                <a:gd name="connsiteX11" fmla="*/ 66306 w 108479"/>
                <a:gd name="connsiteY11" fmla="*/ 1399 h 109288"/>
                <a:gd name="connsiteX12" fmla="*/ 56721 w 108479"/>
                <a:gd name="connsiteY12" fmla="*/ 122 h 109288"/>
                <a:gd name="connsiteX13" fmla="*/ 48414 w 108479"/>
                <a:gd name="connsiteY13" fmla="*/ 4591 h 109288"/>
                <a:gd name="connsiteX14" fmla="*/ 45858 w 108479"/>
                <a:gd name="connsiteY14" fmla="*/ 9060 h 109288"/>
                <a:gd name="connsiteX15" fmla="*/ 42663 w 108479"/>
                <a:gd name="connsiteY15" fmla="*/ 9698 h 109288"/>
                <a:gd name="connsiteX16" fmla="*/ 38829 w 108479"/>
                <a:gd name="connsiteY16" fmla="*/ 6506 h 109288"/>
                <a:gd name="connsiteX17" fmla="*/ 29244 w 108479"/>
                <a:gd name="connsiteY17" fmla="*/ 5868 h 109288"/>
                <a:gd name="connsiteX18" fmla="*/ 20938 w 108479"/>
                <a:gd name="connsiteY18" fmla="*/ 10975 h 109288"/>
                <a:gd name="connsiteX19" fmla="*/ 17104 w 108479"/>
                <a:gd name="connsiteY19" fmla="*/ 19913 h 109288"/>
                <a:gd name="connsiteX20" fmla="*/ 18382 w 108479"/>
                <a:gd name="connsiteY20" fmla="*/ 25020 h 109288"/>
                <a:gd name="connsiteX21" fmla="*/ 16465 w 108479"/>
                <a:gd name="connsiteY21" fmla="*/ 27574 h 109288"/>
                <a:gd name="connsiteX22" fmla="*/ 11353 w 108479"/>
                <a:gd name="connsiteY22" fmla="*/ 27574 h 109288"/>
                <a:gd name="connsiteX23" fmla="*/ 3685 w 108479"/>
                <a:gd name="connsiteY23" fmla="*/ 33319 h 109288"/>
                <a:gd name="connsiteX24" fmla="*/ 490 w 108479"/>
                <a:gd name="connsiteY24" fmla="*/ 42895 h 109288"/>
                <a:gd name="connsiteX25" fmla="*/ 3685 w 108479"/>
                <a:gd name="connsiteY25" fmla="*/ 51833 h 109288"/>
                <a:gd name="connsiteX26" fmla="*/ 7519 w 108479"/>
                <a:gd name="connsiteY26" fmla="*/ 55025 h 109288"/>
                <a:gd name="connsiteX27" fmla="*/ 7519 w 108479"/>
                <a:gd name="connsiteY27" fmla="*/ 58217 h 109288"/>
                <a:gd name="connsiteX28" fmla="*/ 3685 w 108479"/>
                <a:gd name="connsiteY28" fmla="*/ 61409 h 109288"/>
                <a:gd name="connsiteX29" fmla="*/ 1768 w 108479"/>
                <a:gd name="connsiteY29" fmla="*/ 70346 h 109288"/>
                <a:gd name="connsiteX30" fmla="*/ 5602 w 108479"/>
                <a:gd name="connsiteY30" fmla="*/ 79284 h 109288"/>
                <a:gd name="connsiteX31" fmla="*/ 13270 w 108479"/>
                <a:gd name="connsiteY31" fmla="*/ 84391 h 109288"/>
                <a:gd name="connsiteX32" fmla="*/ 18382 w 108479"/>
                <a:gd name="connsiteY32" fmla="*/ 84391 h 109288"/>
                <a:gd name="connsiteX33" fmla="*/ 20299 w 108479"/>
                <a:gd name="connsiteY33" fmla="*/ 86945 h 109288"/>
                <a:gd name="connsiteX34" fmla="*/ 19659 w 108479"/>
                <a:gd name="connsiteY34" fmla="*/ 92052 h 109288"/>
                <a:gd name="connsiteX35" fmla="*/ 24133 w 108479"/>
                <a:gd name="connsiteY35" fmla="*/ 100351 h 109288"/>
                <a:gd name="connsiteX36" fmla="*/ 33078 w 108479"/>
                <a:gd name="connsiteY36" fmla="*/ 104820 h 109288"/>
                <a:gd name="connsiteX37" fmla="*/ 42663 w 108479"/>
                <a:gd name="connsiteY37" fmla="*/ 103543 h 109288"/>
                <a:gd name="connsiteX38" fmla="*/ 46497 w 108479"/>
                <a:gd name="connsiteY38" fmla="*/ 100351 h 109288"/>
                <a:gd name="connsiteX39" fmla="*/ 49692 w 108479"/>
                <a:gd name="connsiteY39" fmla="*/ 100989 h 109288"/>
                <a:gd name="connsiteX40" fmla="*/ 52248 w 108479"/>
                <a:gd name="connsiteY40" fmla="*/ 105458 h 109288"/>
                <a:gd name="connsiteX41" fmla="*/ 59277 w 108479"/>
                <a:gd name="connsiteY41" fmla="*/ 109288 h 109288"/>
                <a:gd name="connsiteX42" fmla="*/ 61194 w 108479"/>
                <a:gd name="connsiteY42" fmla="*/ 109288 h 109288"/>
                <a:gd name="connsiteX43" fmla="*/ 70779 w 108479"/>
                <a:gd name="connsiteY43" fmla="*/ 107373 h 109288"/>
                <a:gd name="connsiteX44" fmla="*/ 77169 w 108479"/>
                <a:gd name="connsiteY44" fmla="*/ 100351 h 109288"/>
                <a:gd name="connsiteX45" fmla="*/ 77808 w 108479"/>
                <a:gd name="connsiteY45" fmla="*/ 95244 h 109288"/>
                <a:gd name="connsiteX46" fmla="*/ 80364 w 108479"/>
                <a:gd name="connsiteY46" fmla="*/ 93329 h 109288"/>
                <a:gd name="connsiteX47" fmla="*/ 85476 w 108479"/>
                <a:gd name="connsiteY47" fmla="*/ 95244 h 109288"/>
                <a:gd name="connsiteX48" fmla="*/ 94422 w 108479"/>
                <a:gd name="connsiteY48" fmla="*/ 92690 h 109288"/>
                <a:gd name="connsiteX49" fmla="*/ 100812 w 108479"/>
                <a:gd name="connsiteY49" fmla="*/ 85029 h 109288"/>
                <a:gd name="connsiteX50" fmla="*/ 100812 w 108479"/>
                <a:gd name="connsiteY50" fmla="*/ 75453 h 109288"/>
                <a:gd name="connsiteX51" fmla="*/ 98256 w 108479"/>
                <a:gd name="connsiteY51" fmla="*/ 70985 h 109288"/>
                <a:gd name="connsiteX52" fmla="*/ 98895 w 108479"/>
                <a:gd name="connsiteY52" fmla="*/ 67793 h 109288"/>
                <a:gd name="connsiteX53" fmla="*/ 103368 w 108479"/>
                <a:gd name="connsiteY53" fmla="*/ 65877 h 109288"/>
                <a:gd name="connsiteX54" fmla="*/ 108480 w 108479"/>
                <a:gd name="connsiteY54" fmla="*/ 58217 h 109288"/>
                <a:gd name="connsiteX55" fmla="*/ 107841 w 108479"/>
                <a:gd name="connsiteY55" fmla="*/ 47364 h 109288"/>
                <a:gd name="connsiteX56" fmla="*/ 90588 w 108479"/>
                <a:gd name="connsiteY56" fmla="*/ 56301 h 109288"/>
                <a:gd name="connsiteX57" fmla="*/ 86754 w 108479"/>
                <a:gd name="connsiteY57" fmla="*/ 60132 h 109288"/>
                <a:gd name="connsiteX58" fmla="*/ 84198 w 108479"/>
                <a:gd name="connsiteY58" fmla="*/ 69069 h 109288"/>
                <a:gd name="connsiteX59" fmla="*/ 84837 w 108479"/>
                <a:gd name="connsiteY59" fmla="*/ 74815 h 109288"/>
                <a:gd name="connsiteX60" fmla="*/ 87393 w 108479"/>
                <a:gd name="connsiteY60" fmla="*/ 78645 h 109288"/>
                <a:gd name="connsiteX61" fmla="*/ 85476 w 108479"/>
                <a:gd name="connsiteY61" fmla="*/ 81199 h 109288"/>
                <a:gd name="connsiteX62" fmla="*/ 81003 w 108479"/>
                <a:gd name="connsiteY62" fmla="*/ 79922 h 109288"/>
                <a:gd name="connsiteX63" fmla="*/ 75252 w 108479"/>
                <a:gd name="connsiteY63" fmla="*/ 80561 h 109288"/>
                <a:gd name="connsiteX64" fmla="*/ 67584 w 108479"/>
                <a:gd name="connsiteY64" fmla="*/ 85668 h 109288"/>
                <a:gd name="connsiteX65" fmla="*/ 64389 w 108479"/>
                <a:gd name="connsiteY65" fmla="*/ 90137 h 109288"/>
                <a:gd name="connsiteX66" fmla="*/ 63750 w 108479"/>
                <a:gd name="connsiteY66" fmla="*/ 94605 h 109288"/>
                <a:gd name="connsiteX67" fmla="*/ 60555 w 108479"/>
                <a:gd name="connsiteY67" fmla="*/ 95244 h 109288"/>
                <a:gd name="connsiteX68" fmla="*/ 57999 w 108479"/>
                <a:gd name="connsiteY68" fmla="*/ 91413 h 109288"/>
                <a:gd name="connsiteX69" fmla="*/ 53526 w 108479"/>
                <a:gd name="connsiteY69" fmla="*/ 88221 h 109288"/>
                <a:gd name="connsiteX70" fmla="*/ 43941 w 108479"/>
                <a:gd name="connsiteY70" fmla="*/ 86945 h 109288"/>
                <a:gd name="connsiteX71" fmla="*/ 43302 w 108479"/>
                <a:gd name="connsiteY71" fmla="*/ 86945 h 109288"/>
                <a:gd name="connsiteX72" fmla="*/ 38829 w 108479"/>
                <a:gd name="connsiteY72" fmla="*/ 88860 h 109288"/>
                <a:gd name="connsiteX73" fmla="*/ 35634 w 108479"/>
                <a:gd name="connsiteY73" fmla="*/ 92052 h 109288"/>
                <a:gd name="connsiteX74" fmla="*/ 32439 w 108479"/>
                <a:gd name="connsiteY74" fmla="*/ 90775 h 109288"/>
                <a:gd name="connsiteX75" fmla="*/ 33078 w 108479"/>
                <a:gd name="connsiteY75" fmla="*/ 86306 h 109288"/>
                <a:gd name="connsiteX76" fmla="*/ 31800 w 108479"/>
                <a:gd name="connsiteY76" fmla="*/ 81199 h 109288"/>
                <a:gd name="connsiteX77" fmla="*/ 25410 w 108479"/>
                <a:gd name="connsiteY77" fmla="*/ 74177 h 109288"/>
                <a:gd name="connsiteX78" fmla="*/ 20299 w 108479"/>
                <a:gd name="connsiteY78" fmla="*/ 72261 h 109288"/>
                <a:gd name="connsiteX79" fmla="*/ 15187 w 108479"/>
                <a:gd name="connsiteY79" fmla="*/ 72261 h 109288"/>
                <a:gd name="connsiteX80" fmla="*/ 13909 w 108479"/>
                <a:gd name="connsiteY80" fmla="*/ 69069 h 109288"/>
                <a:gd name="connsiteX81" fmla="*/ 17743 w 108479"/>
                <a:gd name="connsiteY81" fmla="*/ 65877 h 109288"/>
                <a:gd name="connsiteX82" fmla="*/ 19659 w 108479"/>
                <a:gd name="connsiteY82" fmla="*/ 60770 h 109288"/>
                <a:gd name="connsiteX83" fmla="*/ 19659 w 108479"/>
                <a:gd name="connsiteY83" fmla="*/ 51833 h 109288"/>
                <a:gd name="connsiteX84" fmla="*/ 17104 w 108479"/>
                <a:gd name="connsiteY84" fmla="*/ 46726 h 109288"/>
                <a:gd name="connsiteX85" fmla="*/ 13270 w 108479"/>
                <a:gd name="connsiteY85" fmla="*/ 44172 h 109288"/>
                <a:gd name="connsiteX86" fmla="*/ 14548 w 108479"/>
                <a:gd name="connsiteY86" fmla="*/ 40980 h 109288"/>
                <a:gd name="connsiteX87" fmla="*/ 19659 w 108479"/>
                <a:gd name="connsiteY87" fmla="*/ 40980 h 109288"/>
                <a:gd name="connsiteX88" fmla="*/ 24772 w 108479"/>
                <a:gd name="connsiteY88" fmla="*/ 38426 h 109288"/>
                <a:gd name="connsiteX89" fmla="*/ 30522 w 108479"/>
                <a:gd name="connsiteY89" fmla="*/ 31404 h 109288"/>
                <a:gd name="connsiteX90" fmla="*/ 31800 w 108479"/>
                <a:gd name="connsiteY90" fmla="*/ 25658 h 109288"/>
                <a:gd name="connsiteX91" fmla="*/ 30522 w 108479"/>
                <a:gd name="connsiteY91" fmla="*/ 21190 h 109288"/>
                <a:gd name="connsiteX92" fmla="*/ 33078 w 108479"/>
                <a:gd name="connsiteY92" fmla="*/ 19274 h 109288"/>
                <a:gd name="connsiteX93" fmla="*/ 36912 w 108479"/>
                <a:gd name="connsiteY93" fmla="*/ 22466 h 109288"/>
                <a:gd name="connsiteX94" fmla="*/ 42024 w 108479"/>
                <a:gd name="connsiteY94" fmla="*/ 23743 h 109288"/>
                <a:gd name="connsiteX95" fmla="*/ 50970 w 108479"/>
                <a:gd name="connsiteY95" fmla="*/ 21828 h 109288"/>
                <a:gd name="connsiteX96" fmla="*/ 55443 w 108479"/>
                <a:gd name="connsiteY96" fmla="*/ 18636 h 109288"/>
                <a:gd name="connsiteX97" fmla="*/ 57360 w 108479"/>
                <a:gd name="connsiteY97" fmla="*/ 14167 h 109288"/>
                <a:gd name="connsiteX98" fmla="*/ 60555 w 108479"/>
                <a:gd name="connsiteY98" fmla="*/ 14806 h 109288"/>
                <a:gd name="connsiteX99" fmla="*/ 61194 w 108479"/>
                <a:gd name="connsiteY99" fmla="*/ 19274 h 109288"/>
                <a:gd name="connsiteX100" fmla="*/ 64389 w 108479"/>
                <a:gd name="connsiteY100" fmla="*/ 23743 h 109288"/>
                <a:gd name="connsiteX101" fmla="*/ 72696 w 108479"/>
                <a:gd name="connsiteY101" fmla="*/ 28212 h 109288"/>
                <a:gd name="connsiteX102" fmla="*/ 78447 w 108479"/>
                <a:gd name="connsiteY102" fmla="*/ 28212 h 109288"/>
                <a:gd name="connsiteX103" fmla="*/ 82920 w 108479"/>
                <a:gd name="connsiteY103" fmla="*/ 26297 h 109288"/>
                <a:gd name="connsiteX104" fmla="*/ 85476 w 108479"/>
                <a:gd name="connsiteY104" fmla="*/ 28850 h 109288"/>
                <a:gd name="connsiteX105" fmla="*/ 82920 w 108479"/>
                <a:gd name="connsiteY105" fmla="*/ 33319 h 109288"/>
                <a:gd name="connsiteX106" fmla="*/ 82920 w 108479"/>
                <a:gd name="connsiteY106" fmla="*/ 39065 h 109288"/>
                <a:gd name="connsiteX107" fmla="*/ 86754 w 108479"/>
                <a:gd name="connsiteY107" fmla="*/ 48002 h 109288"/>
                <a:gd name="connsiteX108" fmla="*/ 90588 w 108479"/>
                <a:gd name="connsiteY108" fmla="*/ 51833 h 109288"/>
                <a:gd name="connsiteX109" fmla="*/ 95061 w 108479"/>
                <a:gd name="connsiteY109" fmla="*/ 53109 h 109288"/>
                <a:gd name="connsiteX110" fmla="*/ 95061 w 108479"/>
                <a:gd name="connsiteY110" fmla="*/ 56301 h 109288"/>
                <a:gd name="connsiteX111" fmla="*/ 90588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7841" y="47364"/>
                  </a:moveTo>
                  <a:cubicBezTo>
                    <a:pt x="107841" y="44172"/>
                    <a:pt x="105285" y="40980"/>
                    <a:pt x="102090" y="39703"/>
                  </a:cubicBezTo>
                  <a:lnTo>
                    <a:pt x="96978" y="38426"/>
                  </a:lnTo>
                  <a:lnTo>
                    <a:pt x="95700" y="35234"/>
                  </a:lnTo>
                  <a:lnTo>
                    <a:pt x="98256" y="30766"/>
                  </a:lnTo>
                  <a:cubicBezTo>
                    <a:pt x="100173" y="27574"/>
                    <a:pt x="99534" y="23743"/>
                    <a:pt x="96978" y="21190"/>
                  </a:cubicBezTo>
                  <a:lnTo>
                    <a:pt x="90588" y="14167"/>
                  </a:lnTo>
                  <a:cubicBezTo>
                    <a:pt x="88032" y="11614"/>
                    <a:pt x="84837" y="10975"/>
                    <a:pt x="81003" y="12252"/>
                  </a:cubicBezTo>
                  <a:lnTo>
                    <a:pt x="76530" y="14167"/>
                  </a:lnTo>
                  <a:lnTo>
                    <a:pt x="73974" y="12890"/>
                  </a:lnTo>
                  <a:lnTo>
                    <a:pt x="73335" y="7783"/>
                  </a:lnTo>
                  <a:cubicBezTo>
                    <a:pt x="72696" y="4591"/>
                    <a:pt x="70140" y="2038"/>
                    <a:pt x="66306" y="1399"/>
                  </a:cubicBezTo>
                  <a:lnTo>
                    <a:pt x="56721" y="122"/>
                  </a:lnTo>
                  <a:cubicBezTo>
                    <a:pt x="53526" y="-516"/>
                    <a:pt x="49692" y="1399"/>
                    <a:pt x="48414" y="4591"/>
                  </a:cubicBezTo>
                  <a:lnTo>
                    <a:pt x="45858" y="9060"/>
                  </a:lnTo>
                  <a:lnTo>
                    <a:pt x="42663" y="9698"/>
                  </a:lnTo>
                  <a:lnTo>
                    <a:pt x="38829" y="6506"/>
                  </a:lnTo>
                  <a:cubicBezTo>
                    <a:pt x="36273" y="4591"/>
                    <a:pt x="32439" y="3953"/>
                    <a:pt x="29244" y="5868"/>
                  </a:cubicBezTo>
                  <a:lnTo>
                    <a:pt x="20938" y="10975"/>
                  </a:lnTo>
                  <a:cubicBezTo>
                    <a:pt x="17743" y="12890"/>
                    <a:pt x="16465" y="16082"/>
                    <a:pt x="17104" y="19913"/>
                  </a:cubicBezTo>
                  <a:lnTo>
                    <a:pt x="18382" y="25020"/>
                  </a:lnTo>
                  <a:lnTo>
                    <a:pt x="16465" y="27574"/>
                  </a:lnTo>
                  <a:lnTo>
                    <a:pt x="11353" y="27574"/>
                  </a:lnTo>
                  <a:cubicBezTo>
                    <a:pt x="8158" y="27574"/>
                    <a:pt x="4963" y="30127"/>
                    <a:pt x="3685" y="33319"/>
                  </a:cubicBezTo>
                  <a:lnTo>
                    <a:pt x="490" y="42895"/>
                  </a:lnTo>
                  <a:cubicBezTo>
                    <a:pt x="-788" y="46087"/>
                    <a:pt x="490" y="49918"/>
                    <a:pt x="3685" y="51833"/>
                  </a:cubicBezTo>
                  <a:lnTo>
                    <a:pt x="7519" y="55025"/>
                  </a:lnTo>
                  <a:lnTo>
                    <a:pt x="7519" y="58217"/>
                  </a:lnTo>
                  <a:lnTo>
                    <a:pt x="3685" y="61409"/>
                  </a:lnTo>
                  <a:cubicBezTo>
                    <a:pt x="1129" y="63962"/>
                    <a:pt x="-149" y="67154"/>
                    <a:pt x="1768" y="70346"/>
                  </a:cubicBezTo>
                  <a:lnTo>
                    <a:pt x="5602" y="79284"/>
                  </a:lnTo>
                  <a:cubicBezTo>
                    <a:pt x="6880" y="82476"/>
                    <a:pt x="10075" y="84391"/>
                    <a:pt x="13270" y="84391"/>
                  </a:cubicBezTo>
                  <a:lnTo>
                    <a:pt x="18382" y="84391"/>
                  </a:lnTo>
                  <a:lnTo>
                    <a:pt x="20299" y="86945"/>
                  </a:lnTo>
                  <a:lnTo>
                    <a:pt x="19659" y="92052"/>
                  </a:lnTo>
                  <a:cubicBezTo>
                    <a:pt x="19020"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lnTo>
                    <a:pt x="61194" y="109288"/>
                  </a:lnTo>
                  <a:lnTo>
                    <a:pt x="70779" y="107373"/>
                  </a:lnTo>
                  <a:cubicBezTo>
                    <a:pt x="73974" y="106735"/>
                    <a:pt x="76530" y="103543"/>
                    <a:pt x="77169" y="100351"/>
                  </a:cubicBezTo>
                  <a:lnTo>
                    <a:pt x="77808" y="95244"/>
                  </a:lnTo>
                  <a:lnTo>
                    <a:pt x="80364" y="93329"/>
                  </a:lnTo>
                  <a:lnTo>
                    <a:pt x="85476" y="95244"/>
                  </a:lnTo>
                  <a:cubicBezTo>
                    <a:pt x="88671" y="96521"/>
                    <a:pt x="92505" y="95244"/>
                    <a:pt x="94422" y="92690"/>
                  </a:cubicBezTo>
                  <a:lnTo>
                    <a:pt x="100812" y="85029"/>
                  </a:lnTo>
                  <a:cubicBezTo>
                    <a:pt x="102729" y="82476"/>
                    <a:pt x="102729" y="78645"/>
                    <a:pt x="100812" y="75453"/>
                  </a:cubicBezTo>
                  <a:lnTo>
                    <a:pt x="98256" y="70985"/>
                  </a:lnTo>
                  <a:lnTo>
                    <a:pt x="98895" y="67793"/>
                  </a:lnTo>
                  <a:lnTo>
                    <a:pt x="103368" y="65877"/>
                  </a:lnTo>
                  <a:cubicBezTo>
                    <a:pt x="106563" y="64601"/>
                    <a:pt x="108480" y="61409"/>
                    <a:pt x="108480" y="58217"/>
                  </a:cubicBezTo>
                  <a:lnTo>
                    <a:pt x="107841" y="47364"/>
                  </a:lnTo>
                  <a:close/>
                  <a:moveTo>
                    <a:pt x="90588" y="56301"/>
                  </a:moveTo>
                  <a:cubicBezTo>
                    <a:pt x="88671" y="56940"/>
                    <a:pt x="87393" y="58217"/>
                    <a:pt x="86754" y="60132"/>
                  </a:cubicBezTo>
                  <a:lnTo>
                    <a:pt x="84198" y="69069"/>
                  </a:lnTo>
                  <a:cubicBezTo>
                    <a:pt x="83559" y="70985"/>
                    <a:pt x="84198" y="72900"/>
                    <a:pt x="84837" y="74815"/>
                  </a:cubicBezTo>
                  <a:lnTo>
                    <a:pt x="87393" y="78645"/>
                  </a:lnTo>
                  <a:lnTo>
                    <a:pt x="85476" y="81199"/>
                  </a:lnTo>
                  <a:lnTo>
                    <a:pt x="81003" y="79922"/>
                  </a:lnTo>
                  <a:cubicBezTo>
                    <a:pt x="79086" y="79284"/>
                    <a:pt x="77169" y="79284"/>
                    <a:pt x="75252" y="80561"/>
                  </a:cubicBezTo>
                  <a:lnTo>
                    <a:pt x="67584" y="85668"/>
                  </a:lnTo>
                  <a:cubicBezTo>
                    <a:pt x="65667" y="86945"/>
                    <a:pt x="65028" y="88221"/>
                    <a:pt x="64389" y="90137"/>
                  </a:cubicBezTo>
                  <a:lnTo>
                    <a:pt x="63750" y="94605"/>
                  </a:lnTo>
                  <a:lnTo>
                    <a:pt x="60555" y="95244"/>
                  </a:lnTo>
                  <a:lnTo>
                    <a:pt x="57999" y="91413"/>
                  </a:lnTo>
                  <a:cubicBezTo>
                    <a:pt x="56721" y="89498"/>
                    <a:pt x="55443" y="88860"/>
                    <a:pt x="53526" y="88221"/>
                  </a:cubicBezTo>
                  <a:lnTo>
                    <a:pt x="43941" y="86945"/>
                  </a:lnTo>
                  <a:lnTo>
                    <a:pt x="43302" y="86945"/>
                  </a:lnTo>
                  <a:cubicBezTo>
                    <a:pt x="41385" y="86945"/>
                    <a:pt x="40107" y="87583"/>
                    <a:pt x="38829" y="88860"/>
                  </a:cubicBezTo>
                  <a:lnTo>
                    <a:pt x="35634" y="92052"/>
                  </a:lnTo>
                  <a:lnTo>
                    <a:pt x="32439" y="90775"/>
                  </a:lnTo>
                  <a:lnTo>
                    <a:pt x="33078" y="86306"/>
                  </a:lnTo>
                  <a:cubicBezTo>
                    <a:pt x="33078" y="84391"/>
                    <a:pt x="33078" y="82476"/>
                    <a:pt x="31800" y="81199"/>
                  </a:cubicBezTo>
                  <a:lnTo>
                    <a:pt x="25410" y="74177"/>
                  </a:lnTo>
                  <a:cubicBezTo>
                    <a:pt x="24133" y="72900"/>
                    <a:pt x="22215" y="72261"/>
                    <a:pt x="20299" y="72261"/>
                  </a:cubicBezTo>
                  <a:lnTo>
                    <a:pt x="15187" y="72261"/>
                  </a:lnTo>
                  <a:lnTo>
                    <a:pt x="13909" y="69069"/>
                  </a:lnTo>
                  <a:lnTo>
                    <a:pt x="17743" y="65877"/>
                  </a:lnTo>
                  <a:cubicBezTo>
                    <a:pt x="19020" y="64601"/>
                    <a:pt x="20299" y="62685"/>
                    <a:pt x="19659" y="60770"/>
                  </a:cubicBezTo>
                  <a:lnTo>
                    <a:pt x="19659" y="51833"/>
                  </a:lnTo>
                  <a:cubicBezTo>
                    <a:pt x="19659" y="49918"/>
                    <a:pt x="18382" y="48002"/>
                    <a:pt x="17104" y="46726"/>
                  </a:cubicBezTo>
                  <a:lnTo>
                    <a:pt x="13270" y="44172"/>
                  </a:lnTo>
                  <a:lnTo>
                    <a:pt x="14548" y="40980"/>
                  </a:lnTo>
                  <a:lnTo>
                    <a:pt x="19659" y="40980"/>
                  </a:lnTo>
                  <a:cubicBezTo>
                    <a:pt x="21577" y="40980"/>
                    <a:pt x="23493" y="39703"/>
                    <a:pt x="24772" y="38426"/>
                  </a:cubicBezTo>
                  <a:lnTo>
                    <a:pt x="30522" y="31404"/>
                  </a:lnTo>
                  <a:cubicBezTo>
                    <a:pt x="31800" y="30127"/>
                    <a:pt x="32439" y="27574"/>
                    <a:pt x="31800" y="25658"/>
                  </a:cubicBezTo>
                  <a:lnTo>
                    <a:pt x="30522" y="21190"/>
                  </a:lnTo>
                  <a:lnTo>
                    <a:pt x="33078" y="19274"/>
                  </a:lnTo>
                  <a:lnTo>
                    <a:pt x="36912" y="22466"/>
                  </a:lnTo>
                  <a:cubicBezTo>
                    <a:pt x="38190" y="23743"/>
                    <a:pt x="40107" y="24382"/>
                    <a:pt x="42024" y="23743"/>
                  </a:cubicBezTo>
                  <a:lnTo>
                    <a:pt x="50970" y="21828"/>
                  </a:lnTo>
                  <a:cubicBezTo>
                    <a:pt x="52887" y="21190"/>
                    <a:pt x="54165" y="19913"/>
                    <a:pt x="55443" y="18636"/>
                  </a:cubicBezTo>
                  <a:lnTo>
                    <a:pt x="57360" y="14167"/>
                  </a:lnTo>
                  <a:lnTo>
                    <a:pt x="60555" y="14806"/>
                  </a:lnTo>
                  <a:lnTo>
                    <a:pt x="61194" y="19274"/>
                  </a:lnTo>
                  <a:cubicBezTo>
                    <a:pt x="61833" y="21190"/>
                    <a:pt x="63111" y="23105"/>
                    <a:pt x="64389" y="23743"/>
                  </a:cubicBezTo>
                  <a:lnTo>
                    <a:pt x="72696" y="28212"/>
                  </a:lnTo>
                  <a:cubicBezTo>
                    <a:pt x="74613" y="28850"/>
                    <a:pt x="76530" y="28850"/>
                    <a:pt x="78447" y="28212"/>
                  </a:cubicBezTo>
                  <a:lnTo>
                    <a:pt x="82920" y="26297"/>
                  </a:lnTo>
                  <a:lnTo>
                    <a:pt x="85476" y="28850"/>
                  </a:lnTo>
                  <a:lnTo>
                    <a:pt x="82920" y="33319"/>
                  </a:lnTo>
                  <a:cubicBezTo>
                    <a:pt x="82281" y="35234"/>
                    <a:pt x="81642" y="37150"/>
                    <a:pt x="82920" y="39065"/>
                  </a:cubicBezTo>
                  <a:lnTo>
                    <a:pt x="86754" y="48002"/>
                  </a:lnTo>
                  <a:cubicBezTo>
                    <a:pt x="87393" y="49918"/>
                    <a:pt x="88671" y="51194"/>
                    <a:pt x="90588" y="51833"/>
                  </a:cubicBezTo>
                  <a:lnTo>
                    <a:pt x="95061" y="53109"/>
                  </a:lnTo>
                  <a:lnTo>
                    <a:pt x="95061" y="56301"/>
                  </a:lnTo>
                  <a:lnTo>
                    <a:pt x="90588" y="56301"/>
                  </a:lnTo>
                  <a:close/>
                </a:path>
              </a:pathLst>
            </a:custGeom>
            <a:grpFill/>
            <a:ln w="3373" cap="flat">
              <a:noFill/>
              <a:prstDash val="solid"/>
              <a:miter/>
            </a:ln>
          </p:spPr>
          <p:txBody>
            <a:bodyPr rtlCol="0" anchor="ctr"/>
            <a:lstStyle/>
            <a:p>
              <a:endParaRPr lang="en-US"/>
            </a:p>
          </p:txBody>
        </p:sp>
        <p:sp>
          <p:nvSpPr>
            <p:cNvPr id="95" name="Graphic 4">
              <a:extLst>
                <a:ext uri="{FF2B5EF4-FFF2-40B4-BE49-F238E27FC236}">
                  <a16:creationId xmlns:a16="http://schemas.microsoft.com/office/drawing/2014/main" id="{9B5C91C0-8DC1-EF4E-D887-D0C77B925795}"/>
                </a:ext>
              </a:extLst>
            </p:cNvPr>
            <p:cNvSpPr/>
            <p:nvPr/>
          </p:nvSpPr>
          <p:spPr>
            <a:xfrm>
              <a:off x="1732290" y="2987227"/>
              <a:ext cx="65859" cy="66393"/>
            </a:xfrm>
            <a:custGeom>
              <a:avLst/>
              <a:gdLst>
                <a:gd name="connsiteX0" fmla="*/ 31333 w 65859"/>
                <a:gd name="connsiteY0" fmla="*/ 0 h 66393"/>
                <a:gd name="connsiteX1" fmla="*/ 31333 w 65859"/>
                <a:gd name="connsiteY1" fmla="*/ 0 h 66393"/>
                <a:gd name="connsiteX2" fmla="*/ 22 w 65859"/>
                <a:gd name="connsiteY2" fmla="*/ 35112 h 66393"/>
                <a:gd name="connsiteX3" fmla="*/ 32611 w 65859"/>
                <a:gd name="connsiteY3" fmla="*/ 66394 h 66393"/>
                <a:gd name="connsiteX4" fmla="*/ 33888 w 65859"/>
                <a:gd name="connsiteY4" fmla="*/ 66394 h 66393"/>
                <a:gd name="connsiteX5" fmla="*/ 65838 w 65859"/>
                <a:gd name="connsiteY5" fmla="*/ 32558 h 66393"/>
                <a:gd name="connsiteX6" fmla="*/ 31972 w 65859"/>
                <a:gd name="connsiteY6" fmla="*/ 638 h 66393"/>
                <a:gd name="connsiteX7" fmla="*/ 31333 w 65859"/>
                <a:gd name="connsiteY7" fmla="*/ 0 h 66393"/>
                <a:gd name="connsiteX8" fmla="*/ 33888 w 65859"/>
                <a:gd name="connsiteY8" fmla="*/ 52987 h 66393"/>
                <a:gd name="connsiteX9" fmla="*/ 12802 w 65859"/>
                <a:gd name="connsiteY9" fmla="*/ 33835 h 66393"/>
                <a:gd name="connsiteX10" fmla="*/ 17914 w 65859"/>
                <a:gd name="connsiteY10" fmla="*/ 19152 h 66393"/>
                <a:gd name="connsiteX11" fmla="*/ 46668 w 65859"/>
                <a:gd name="connsiteY11" fmla="*/ 17875 h 66393"/>
                <a:gd name="connsiteX12" fmla="*/ 53058 w 65859"/>
                <a:gd name="connsiteY12" fmla="*/ 31920 h 66393"/>
                <a:gd name="connsiteX13" fmla="*/ 33888 w 65859"/>
                <a:gd name="connsiteY13" fmla="*/ 52987 h 66393"/>
                <a:gd name="connsiteX14" fmla="*/ 33888 w 65859"/>
                <a:gd name="connsiteY14" fmla="*/ 52987 h 6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859" h="66393">
                  <a:moveTo>
                    <a:pt x="31333" y="0"/>
                  </a:moveTo>
                  <a:lnTo>
                    <a:pt x="31333" y="0"/>
                  </a:lnTo>
                  <a:cubicBezTo>
                    <a:pt x="12802" y="1277"/>
                    <a:pt x="-617" y="16598"/>
                    <a:pt x="22" y="35112"/>
                  </a:cubicBezTo>
                  <a:cubicBezTo>
                    <a:pt x="1300" y="52349"/>
                    <a:pt x="15358" y="65755"/>
                    <a:pt x="32611" y="66394"/>
                  </a:cubicBezTo>
                  <a:lnTo>
                    <a:pt x="33888" y="66394"/>
                  </a:lnTo>
                  <a:cubicBezTo>
                    <a:pt x="52419" y="65755"/>
                    <a:pt x="66477" y="50434"/>
                    <a:pt x="65838" y="32558"/>
                  </a:cubicBezTo>
                  <a:cubicBezTo>
                    <a:pt x="65199" y="14045"/>
                    <a:pt x="49863" y="0"/>
                    <a:pt x="31972" y="638"/>
                  </a:cubicBezTo>
                  <a:cubicBezTo>
                    <a:pt x="31972" y="0"/>
                    <a:pt x="31333" y="0"/>
                    <a:pt x="31333" y="0"/>
                  </a:cubicBezTo>
                  <a:close/>
                  <a:moveTo>
                    <a:pt x="33888" y="52987"/>
                  </a:moveTo>
                  <a:cubicBezTo>
                    <a:pt x="22387" y="53626"/>
                    <a:pt x="13441" y="44688"/>
                    <a:pt x="12802" y="33835"/>
                  </a:cubicBezTo>
                  <a:cubicBezTo>
                    <a:pt x="12802" y="28728"/>
                    <a:pt x="14719" y="22982"/>
                    <a:pt x="17914" y="19152"/>
                  </a:cubicBezTo>
                  <a:cubicBezTo>
                    <a:pt x="25582" y="10853"/>
                    <a:pt x="38362" y="10214"/>
                    <a:pt x="46668" y="17875"/>
                  </a:cubicBezTo>
                  <a:cubicBezTo>
                    <a:pt x="50502" y="21706"/>
                    <a:pt x="53058" y="26813"/>
                    <a:pt x="53058" y="31920"/>
                  </a:cubicBezTo>
                  <a:cubicBezTo>
                    <a:pt x="53697" y="42773"/>
                    <a:pt x="44751" y="52349"/>
                    <a:pt x="33888" y="52987"/>
                  </a:cubicBezTo>
                  <a:lnTo>
                    <a:pt x="33888" y="52987"/>
                  </a:lnTo>
                  <a:close/>
                </a:path>
              </a:pathLst>
            </a:custGeom>
            <a:grpFill/>
            <a:ln w="3373" cap="flat">
              <a:noFill/>
              <a:prstDash val="solid"/>
              <a:miter/>
            </a:ln>
          </p:spPr>
          <p:txBody>
            <a:bodyPr rtlCol="0" anchor="ctr"/>
            <a:lstStyle/>
            <a:p>
              <a:endParaRPr lang="en-US"/>
            </a:p>
          </p:txBody>
        </p:sp>
        <p:sp>
          <p:nvSpPr>
            <p:cNvPr id="96" name="Graphic 4">
              <a:extLst>
                <a:ext uri="{FF2B5EF4-FFF2-40B4-BE49-F238E27FC236}">
                  <a16:creationId xmlns:a16="http://schemas.microsoft.com/office/drawing/2014/main" id="{B5EE4134-81BD-6F8C-06B8-EDC0D93B0346}"/>
                </a:ext>
              </a:extLst>
            </p:cNvPr>
            <p:cNvSpPr/>
            <p:nvPr/>
          </p:nvSpPr>
          <p:spPr>
            <a:xfrm>
              <a:off x="1637251" y="3045838"/>
              <a:ext cx="108479" cy="109288"/>
            </a:xfrm>
            <a:custGeom>
              <a:avLst/>
              <a:gdLst>
                <a:gd name="connsiteX0" fmla="*/ 102090 w 108479"/>
                <a:gd name="connsiteY0" fmla="*/ 39703 h 109288"/>
                <a:gd name="connsiteX1" fmla="*/ 96978 w 108479"/>
                <a:gd name="connsiteY1" fmla="*/ 38426 h 109288"/>
                <a:gd name="connsiteX2" fmla="*/ 95700 w 108479"/>
                <a:gd name="connsiteY2" fmla="*/ 35234 h 109288"/>
                <a:gd name="connsiteX3" fmla="*/ 98256 w 108479"/>
                <a:gd name="connsiteY3" fmla="*/ 30765 h 109288"/>
                <a:gd name="connsiteX4" fmla="*/ 96978 w 108479"/>
                <a:gd name="connsiteY4" fmla="*/ 21189 h 109288"/>
                <a:gd name="connsiteX5" fmla="*/ 90588 w 108479"/>
                <a:gd name="connsiteY5" fmla="*/ 14167 h 109288"/>
                <a:gd name="connsiteX6" fmla="*/ 81003 w 108479"/>
                <a:gd name="connsiteY6" fmla="*/ 12252 h 109288"/>
                <a:gd name="connsiteX7" fmla="*/ 76530 w 108479"/>
                <a:gd name="connsiteY7" fmla="*/ 14167 h 109288"/>
                <a:gd name="connsiteX8" fmla="*/ 73335 w 108479"/>
                <a:gd name="connsiteY8" fmla="*/ 12890 h 109288"/>
                <a:gd name="connsiteX9" fmla="*/ 72696 w 108479"/>
                <a:gd name="connsiteY9" fmla="*/ 7783 h 109288"/>
                <a:gd name="connsiteX10" fmla="*/ 65667 w 108479"/>
                <a:gd name="connsiteY10" fmla="*/ 1399 h 109288"/>
                <a:gd name="connsiteX11" fmla="*/ 56082 w 108479"/>
                <a:gd name="connsiteY11" fmla="*/ 122 h 109288"/>
                <a:gd name="connsiteX12" fmla="*/ 47775 w 108479"/>
                <a:gd name="connsiteY12" fmla="*/ 4591 h 109288"/>
                <a:gd name="connsiteX13" fmla="*/ 45219 w 108479"/>
                <a:gd name="connsiteY13" fmla="*/ 9060 h 109288"/>
                <a:gd name="connsiteX14" fmla="*/ 42024 w 108479"/>
                <a:gd name="connsiteY14" fmla="*/ 9698 h 109288"/>
                <a:gd name="connsiteX15" fmla="*/ 38190 w 108479"/>
                <a:gd name="connsiteY15" fmla="*/ 6506 h 109288"/>
                <a:gd name="connsiteX16" fmla="*/ 28606 w 108479"/>
                <a:gd name="connsiteY16" fmla="*/ 5868 h 109288"/>
                <a:gd name="connsiteX17" fmla="*/ 20299 w 108479"/>
                <a:gd name="connsiteY17" fmla="*/ 10975 h 109288"/>
                <a:gd name="connsiteX18" fmla="*/ 16465 w 108479"/>
                <a:gd name="connsiteY18" fmla="*/ 19913 h 109288"/>
                <a:gd name="connsiteX19" fmla="*/ 17743 w 108479"/>
                <a:gd name="connsiteY19" fmla="*/ 25020 h 109288"/>
                <a:gd name="connsiteX20" fmla="*/ 15826 w 108479"/>
                <a:gd name="connsiteY20" fmla="*/ 27573 h 109288"/>
                <a:gd name="connsiteX21" fmla="*/ 11353 w 108479"/>
                <a:gd name="connsiteY21" fmla="*/ 27573 h 109288"/>
                <a:gd name="connsiteX22" fmla="*/ 3685 w 108479"/>
                <a:gd name="connsiteY22" fmla="*/ 33319 h 109288"/>
                <a:gd name="connsiteX23" fmla="*/ 490 w 108479"/>
                <a:gd name="connsiteY23" fmla="*/ 42895 h 109288"/>
                <a:gd name="connsiteX24" fmla="*/ 3685 w 108479"/>
                <a:gd name="connsiteY24" fmla="*/ 51833 h 109288"/>
                <a:gd name="connsiteX25" fmla="*/ 7519 w 108479"/>
                <a:gd name="connsiteY25" fmla="*/ 55025 h 109288"/>
                <a:gd name="connsiteX26" fmla="*/ 7519 w 108479"/>
                <a:gd name="connsiteY26" fmla="*/ 58217 h 109288"/>
                <a:gd name="connsiteX27" fmla="*/ 3685 w 108479"/>
                <a:gd name="connsiteY27" fmla="*/ 61409 h 109288"/>
                <a:gd name="connsiteX28" fmla="*/ 1768 w 108479"/>
                <a:gd name="connsiteY28" fmla="*/ 70346 h 109288"/>
                <a:gd name="connsiteX29" fmla="*/ 5602 w 108479"/>
                <a:gd name="connsiteY29" fmla="*/ 79284 h 109288"/>
                <a:gd name="connsiteX30" fmla="*/ 13270 w 108479"/>
                <a:gd name="connsiteY30" fmla="*/ 84391 h 109288"/>
                <a:gd name="connsiteX31" fmla="*/ 18382 w 108479"/>
                <a:gd name="connsiteY31" fmla="*/ 84391 h 109288"/>
                <a:gd name="connsiteX32" fmla="*/ 20299 w 108479"/>
                <a:gd name="connsiteY32" fmla="*/ 86945 h 109288"/>
                <a:gd name="connsiteX33" fmla="*/ 19659 w 108479"/>
                <a:gd name="connsiteY33" fmla="*/ 92052 h 109288"/>
                <a:gd name="connsiteX34" fmla="*/ 24133 w 108479"/>
                <a:gd name="connsiteY34" fmla="*/ 100351 h 109288"/>
                <a:gd name="connsiteX35" fmla="*/ 33078 w 108479"/>
                <a:gd name="connsiteY35" fmla="*/ 104820 h 109288"/>
                <a:gd name="connsiteX36" fmla="*/ 42663 w 108479"/>
                <a:gd name="connsiteY36" fmla="*/ 103543 h 109288"/>
                <a:gd name="connsiteX37" fmla="*/ 46497 w 108479"/>
                <a:gd name="connsiteY37" fmla="*/ 100351 h 109288"/>
                <a:gd name="connsiteX38" fmla="*/ 49692 w 108479"/>
                <a:gd name="connsiteY38" fmla="*/ 100989 h 109288"/>
                <a:gd name="connsiteX39" fmla="*/ 52248 w 108479"/>
                <a:gd name="connsiteY39" fmla="*/ 105458 h 109288"/>
                <a:gd name="connsiteX40" fmla="*/ 59277 w 108479"/>
                <a:gd name="connsiteY40" fmla="*/ 109288 h 109288"/>
                <a:gd name="connsiteX41" fmla="*/ 61194 w 108479"/>
                <a:gd name="connsiteY41" fmla="*/ 109288 h 109288"/>
                <a:gd name="connsiteX42" fmla="*/ 70779 w 108479"/>
                <a:gd name="connsiteY42" fmla="*/ 107373 h 109288"/>
                <a:gd name="connsiteX43" fmla="*/ 77169 w 108479"/>
                <a:gd name="connsiteY43" fmla="*/ 100351 h 109288"/>
                <a:gd name="connsiteX44" fmla="*/ 77808 w 108479"/>
                <a:gd name="connsiteY44" fmla="*/ 95244 h 109288"/>
                <a:gd name="connsiteX45" fmla="*/ 80364 w 108479"/>
                <a:gd name="connsiteY45" fmla="*/ 93329 h 109288"/>
                <a:gd name="connsiteX46" fmla="*/ 85476 w 108479"/>
                <a:gd name="connsiteY46" fmla="*/ 94605 h 109288"/>
                <a:gd name="connsiteX47" fmla="*/ 94422 w 108479"/>
                <a:gd name="connsiteY47" fmla="*/ 92052 h 109288"/>
                <a:gd name="connsiteX48" fmla="*/ 100812 w 108479"/>
                <a:gd name="connsiteY48" fmla="*/ 84391 h 109288"/>
                <a:gd name="connsiteX49" fmla="*/ 100812 w 108479"/>
                <a:gd name="connsiteY49" fmla="*/ 74815 h 109288"/>
                <a:gd name="connsiteX50" fmla="*/ 98256 w 108479"/>
                <a:gd name="connsiteY50" fmla="*/ 70346 h 109288"/>
                <a:gd name="connsiteX51" fmla="*/ 98895 w 108479"/>
                <a:gd name="connsiteY51" fmla="*/ 67154 h 109288"/>
                <a:gd name="connsiteX52" fmla="*/ 103368 w 108479"/>
                <a:gd name="connsiteY52" fmla="*/ 65239 h 109288"/>
                <a:gd name="connsiteX53" fmla="*/ 108480 w 108479"/>
                <a:gd name="connsiteY53" fmla="*/ 57578 h 109288"/>
                <a:gd name="connsiteX54" fmla="*/ 107841 w 108479"/>
                <a:gd name="connsiteY54" fmla="*/ 47364 h 109288"/>
                <a:gd name="connsiteX55" fmla="*/ 102090 w 108479"/>
                <a:gd name="connsiteY55" fmla="*/ 39703 h 109288"/>
                <a:gd name="connsiteX56" fmla="*/ 91227 w 108479"/>
                <a:gd name="connsiteY56" fmla="*/ 56301 h 109288"/>
                <a:gd name="connsiteX57" fmla="*/ 87393 w 108479"/>
                <a:gd name="connsiteY57" fmla="*/ 60132 h 109288"/>
                <a:gd name="connsiteX58" fmla="*/ 84837 w 108479"/>
                <a:gd name="connsiteY58" fmla="*/ 69069 h 109288"/>
                <a:gd name="connsiteX59" fmla="*/ 85476 w 108479"/>
                <a:gd name="connsiteY59" fmla="*/ 74815 h 109288"/>
                <a:gd name="connsiteX60" fmla="*/ 88032 w 108479"/>
                <a:gd name="connsiteY60" fmla="*/ 78645 h 109288"/>
                <a:gd name="connsiteX61" fmla="*/ 86115 w 108479"/>
                <a:gd name="connsiteY61" fmla="*/ 81199 h 109288"/>
                <a:gd name="connsiteX62" fmla="*/ 81642 w 108479"/>
                <a:gd name="connsiteY62" fmla="*/ 79922 h 109288"/>
                <a:gd name="connsiteX63" fmla="*/ 75891 w 108479"/>
                <a:gd name="connsiteY63" fmla="*/ 80561 h 109288"/>
                <a:gd name="connsiteX64" fmla="*/ 68223 w 108479"/>
                <a:gd name="connsiteY64" fmla="*/ 85668 h 109288"/>
                <a:gd name="connsiteX65" fmla="*/ 65028 w 108479"/>
                <a:gd name="connsiteY65" fmla="*/ 90137 h 109288"/>
                <a:gd name="connsiteX66" fmla="*/ 64389 w 108479"/>
                <a:gd name="connsiteY66" fmla="*/ 95244 h 109288"/>
                <a:gd name="connsiteX67" fmla="*/ 61194 w 108479"/>
                <a:gd name="connsiteY67" fmla="*/ 95882 h 109288"/>
                <a:gd name="connsiteX68" fmla="*/ 58638 w 108479"/>
                <a:gd name="connsiteY68" fmla="*/ 92052 h 109288"/>
                <a:gd name="connsiteX69" fmla="*/ 54165 w 108479"/>
                <a:gd name="connsiteY69" fmla="*/ 88860 h 109288"/>
                <a:gd name="connsiteX70" fmla="*/ 45219 w 108479"/>
                <a:gd name="connsiteY70" fmla="*/ 87583 h 109288"/>
                <a:gd name="connsiteX71" fmla="*/ 44580 w 108479"/>
                <a:gd name="connsiteY71" fmla="*/ 87583 h 109288"/>
                <a:gd name="connsiteX72" fmla="*/ 40107 w 108479"/>
                <a:gd name="connsiteY72" fmla="*/ 89498 h 109288"/>
                <a:gd name="connsiteX73" fmla="*/ 36912 w 108479"/>
                <a:gd name="connsiteY73" fmla="*/ 92690 h 109288"/>
                <a:gd name="connsiteX74" fmla="*/ 33717 w 108479"/>
                <a:gd name="connsiteY74" fmla="*/ 91413 h 109288"/>
                <a:gd name="connsiteX75" fmla="*/ 34356 w 108479"/>
                <a:gd name="connsiteY75" fmla="*/ 86306 h 109288"/>
                <a:gd name="connsiteX76" fmla="*/ 33078 w 108479"/>
                <a:gd name="connsiteY76" fmla="*/ 81199 h 109288"/>
                <a:gd name="connsiteX77" fmla="*/ 26688 w 108479"/>
                <a:gd name="connsiteY77" fmla="*/ 74177 h 109288"/>
                <a:gd name="connsiteX78" fmla="*/ 21577 w 108479"/>
                <a:gd name="connsiteY78" fmla="*/ 72261 h 109288"/>
                <a:gd name="connsiteX79" fmla="*/ 16465 w 108479"/>
                <a:gd name="connsiteY79" fmla="*/ 72261 h 109288"/>
                <a:gd name="connsiteX80" fmla="*/ 15187 w 108479"/>
                <a:gd name="connsiteY80" fmla="*/ 69069 h 109288"/>
                <a:gd name="connsiteX81" fmla="*/ 19021 w 108479"/>
                <a:gd name="connsiteY81" fmla="*/ 65877 h 109288"/>
                <a:gd name="connsiteX82" fmla="*/ 20938 w 108479"/>
                <a:gd name="connsiteY82" fmla="*/ 60770 h 109288"/>
                <a:gd name="connsiteX83" fmla="*/ 20299 w 108479"/>
                <a:gd name="connsiteY83" fmla="*/ 51194 h 109288"/>
                <a:gd name="connsiteX84" fmla="*/ 17743 w 108479"/>
                <a:gd name="connsiteY84" fmla="*/ 46087 h 109288"/>
                <a:gd name="connsiteX85" fmla="*/ 13909 w 108479"/>
                <a:gd name="connsiteY85" fmla="*/ 43533 h 109288"/>
                <a:gd name="connsiteX86" fmla="*/ 15187 w 108479"/>
                <a:gd name="connsiteY86" fmla="*/ 40341 h 109288"/>
                <a:gd name="connsiteX87" fmla="*/ 20299 w 108479"/>
                <a:gd name="connsiteY87" fmla="*/ 40341 h 109288"/>
                <a:gd name="connsiteX88" fmla="*/ 25411 w 108479"/>
                <a:gd name="connsiteY88" fmla="*/ 37788 h 109288"/>
                <a:gd name="connsiteX89" fmla="*/ 31161 w 108479"/>
                <a:gd name="connsiteY89" fmla="*/ 30765 h 109288"/>
                <a:gd name="connsiteX90" fmla="*/ 32439 w 108479"/>
                <a:gd name="connsiteY90" fmla="*/ 25020 h 109288"/>
                <a:gd name="connsiteX91" fmla="*/ 31161 w 108479"/>
                <a:gd name="connsiteY91" fmla="*/ 20551 h 109288"/>
                <a:gd name="connsiteX92" fmla="*/ 33717 w 108479"/>
                <a:gd name="connsiteY92" fmla="*/ 18636 h 109288"/>
                <a:gd name="connsiteX93" fmla="*/ 37551 w 108479"/>
                <a:gd name="connsiteY93" fmla="*/ 21828 h 109288"/>
                <a:gd name="connsiteX94" fmla="*/ 42663 w 108479"/>
                <a:gd name="connsiteY94" fmla="*/ 23105 h 109288"/>
                <a:gd name="connsiteX95" fmla="*/ 51609 w 108479"/>
                <a:gd name="connsiteY95" fmla="*/ 21189 h 109288"/>
                <a:gd name="connsiteX96" fmla="*/ 56082 w 108479"/>
                <a:gd name="connsiteY96" fmla="*/ 17997 h 109288"/>
                <a:gd name="connsiteX97" fmla="*/ 57999 w 108479"/>
                <a:gd name="connsiteY97" fmla="*/ 13529 h 109288"/>
                <a:gd name="connsiteX98" fmla="*/ 61194 w 108479"/>
                <a:gd name="connsiteY98" fmla="*/ 14167 h 109288"/>
                <a:gd name="connsiteX99" fmla="*/ 61833 w 108479"/>
                <a:gd name="connsiteY99" fmla="*/ 18636 h 109288"/>
                <a:gd name="connsiteX100" fmla="*/ 65028 w 108479"/>
                <a:gd name="connsiteY100" fmla="*/ 23105 h 109288"/>
                <a:gd name="connsiteX101" fmla="*/ 73335 w 108479"/>
                <a:gd name="connsiteY101" fmla="*/ 27573 h 109288"/>
                <a:gd name="connsiteX102" fmla="*/ 79086 w 108479"/>
                <a:gd name="connsiteY102" fmla="*/ 27573 h 109288"/>
                <a:gd name="connsiteX103" fmla="*/ 83559 w 108479"/>
                <a:gd name="connsiteY103" fmla="*/ 25658 h 109288"/>
                <a:gd name="connsiteX104" fmla="*/ 86115 w 108479"/>
                <a:gd name="connsiteY104" fmla="*/ 28212 h 109288"/>
                <a:gd name="connsiteX105" fmla="*/ 83559 w 108479"/>
                <a:gd name="connsiteY105" fmla="*/ 32681 h 109288"/>
                <a:gd name="connsiteX106" fmla="*/ 83559 w 108479"/>
                <a:gd name="connsiteY106" fmla="*/ 38426 h 109288"/>
                <a:gd name="connsiteX107" fmla="*/ 87393 w 108479"/>
                <a:gd name="connsiteY107" fmla="*/ 46725 h 109288"/>
                <a:gd name="connsiteX108" fmla="*/ 91227 w 108479"/>
                <a:gd name="connsiteY108" fmla="*/ 50556 h 109288"/>
                <a:gd name="connsiteX109" fmla="*/ 95700 w 108479"/>
                <a:gd name="connsiteY109" fmla="*/ 51833 h 109288"/>
                <a:gd name="connsiteX110" fmla="*/ 95700 w 108479"/>
                <a:gd name="connsiteY110" fmla="*/ 55025 h 109288"/>
                <a:gd name="connsiteX111" fmla="*/ 91227 w 108479"/>
                <a:gd name="connsiteY111" fmla="*/ 56301 h 10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08479" h="109288">
                  <a:moveTo>
                    <a:pt x="102090" y="39703"/>
                  </a:moveTo>
                  <a:lnTo>
                    <a:pt x="96978" y="38426"/>
                  </a:lnTo>
                  <a:lnTo>
                    <a:pt x="95700" y="35234"/>
                  </a:lnTo>
                  <a:lnTo>
                    <a:pt x="98256" y="30765"/>
                  </a:lnTo>
                  <a:cubicBezTo>
                    <a:pt x="100173" y="27573"/>
                    <a:pt x="99534" y="23743"/>
                    <a:pt x="96978" y="21189"/>
                  </a:cubicBezTo>
                  <a:lnTo>
                    <a:pt x="90588" y="14167"/>
                  </a:lnTo>
                  <a:cubicBezTo>
                    <a:pt x="88032" y="11613"/>
                    <a:pt x="84837" y="10975"/>
                    <a:pt x="81003" y="12252"/>
                  </a:cubicBezTo>
                  <a:lnTo>
                    <a:pt x="76530" y="14167"/>
                  </a:lnTo>
                  <a:lnTo>
                    <a:pt x="73335" y="12890"/>
                  </a:lnTo>
                  <a:lnTo>
                    <a:pt x="72696" y="7783"/>
                  </a:lnTo>
                  <a:cubicBezTo>
                    <a:pt x="72057" y="4591"/>
                    <a:pt x="69501" y="2037"/>
                    <a:pt x="65667" y="1399"/>
                  </a:cubicBezTo>
                  <a:lnTo>
                    <a:pt x="56082" y="122"/>
                  </a:lnTo>
                  <a:cubicBezTo>
                    <a:pt x="52887" y="-516"/>
                    <a:pt x="49053" y="1399"/>
                    <a:pt x="47775" y="4591"/>
                  </a:cubicBezTo>
                  <a:lnTo>
                    <a:pt x="45219" y="9060"/>
                  </a:lnTo>
                  <a:lnTo>
                    <a:pt x="42024" y="9698"/>
                  </a:lnTo>
                  <a:lnTo>
                    <a:pt x="38190" y="6506"/>
                  </a:lnTo>
                  <a:cubicBezTo>
                    <a:pt x="35634" y="4591"/>
                    <a:pt x="31801" y="3953"/>
                    <a:pt x="28606" y="5868"/>
                  </a:cubicBezTo>
                  <a:lnTo>
                    <a:pt x="20299" y="10975"/>
                  </a:lnTo>
                  <a:cubicBezTo>
                    <a:pt x="17104" y="12890"/>
                    <a:pt x="15826" y="16082"/>
                    <a:pt x="16465" y="19913"/>
                  </a:cubicBezTo>
                  <a:lnTo>
                    <a:pt x="17743" y="25020"/>
                  </a:lnTo>
                  <a:lnTo>
                    <a:pt x="15826" y="27573"/>
                  </a:lnTo>
                  <a:lnTo>
                    <a:pt x="11353" y="27573"/>
                  </a:lnTo>
                  <a:cubicBezTo>
                    <a:pt x="8158" y="27573"/>
                    <a:pt x="4963" y="30127"/>
                    <a:pt x="3685" y="33319"/>
                  </a:cubicBezTo>
                  <a:lnTo>
                    <a:pt x="490" y="42895"/>
                  </a:lnTo>
                  <a:cubicBezTo>
                    <a:pt x="-788" y="46087"/>
                    <a:pt x="490" y="49917"/>
                    <a:pt x="3685" y="51833"/>
                  </a:cubicBezTo>
                  <a:lnTo>
                    <a:pt x="7519" y="55025"/>
                  </a:lnTo>
                  <a:lnTo>
                    <a:pt x="7519" y="58217"/>
                  </a:lnTo>
                  <a:lnTo>
                    <a:pt x="3685" y="61409"/>
                  </a:lnTo>
                  <a:cubicBezTo>
                    <a:pt x="1129" y="63962"/>
                    <a:pt x="490" y="67154"/>
                    <a:pt x="1768" y="70346"/>
                  </a:cubicBezTo>
                  <a:lnTo>
                    <a:pt x="5602" y="79284"/>
                  </a:lnTo>
                  <a:cubicBezTo>
                    <a:pt x="6880" y="82476"/>
                    <a:pt x="10075" y="84391"/>
                    <a:pt x="13270" y="84391"/>
                  </a:cubicBezTo>
                  <a:lnTo>
                    <a:pt x="18382" y="84391"/>
                  </a:lnTo>
                  <a:lnTo>
                    <a:pt x="20299" y="86945"/>
                  </a:lnTo>
                  <a:lnTo>
                    <a:pt x="19659" y="92052"/>
                  </a:lnTo>
                  <a:cubicBezTo>
                    <a:pt x="19021" y="95244"/>
                    <a:pt x="20938" y="99074"/>
                    <a:pt x="24133" y="100351"/>
                  </a:cubicBezTo>
                  <a:lnTo>
                    <a:pt x="33078" y="104820"/>
                  </a:lnTo>
                  <a:cubicBezTo>
                    <a:pt x="36273" y="106735"/>
                    <a:pt x="40107" y="106096"/>
                    <a:pt x="42663" y="103543"/>
                  </a:cubicBezTo>
                  <a:lnTo>
                    <a:pt x="46497" y="100351"/>
                  </a:lnTo>
                  <a:lnTo>
                    <a:pt x="49692" y="100989"/>
                  </a:lnTo>
                  <a:lnTo>
                    <a:pt x="52248" y="105458"/>
                  </a:lnTo>
                  <a:cubicBezTo>
                    <a:pt x="53526" y="108012"/>
                    <a:pt x="56082" y="109288"/>
                    <a:pt x="59277" y="109288"/>
                  </a:cubicBezTo>
                  <a:cubicBezTo>
                    <a:pt x="59916" y="109288"/>
                    <a:pt x="60555" y="109288"/>
                    <a:pt x="61194" y="109288"/>
                  </a:cubicBezTo>
                  <a:lnTo>
                    <a:pt x="70779" y="107373"/>
                  </a:lnTo>
                  <a:cubicBezTo>
                    <a:pt x="73974" y="106735"/>
                    <a:pt x="76530" y="103543"/>
                    <a:pt x="77169" y="100351"/>
                  </a:cubicBezTo>
                  <a:lnTo>
                    <a:pt x="77808" y="95244"/>
                  </a:lnTo>
                  <a:lnTo>
                    <a:pt x="80364" y="93329"/>
                  </a:lnTo>
                  <a:lnTo>
                    <a:pt x="85476" y="94605"/>
                  </a:lnTo>
                  <a:cubicBezTo>
                    <a:pt x="88671" y="95882"/>
                    <a:pt x="92505" y="94605"/>
                    <a:pt x="94422" y="92052"/>
                  </a:cubicBezTo>
                  <a:lnTo>
                    <a:pt x="100812" y="84391"/>
                  </a:lnTo>
                  <a:cubicBezTo>
                    <a:pt x="102729" y="81837"/>
                    <a:pt x="102729" y="78007"/>
                    <a:pt x="100812" y="74815"/>
                  </a:cubicBezTo>
                  <a:lnTo>
                    <a:pt x="98256" y="70346"/>
                  </a:lnTo>
                  <a:lnTo>
                    <a:pt x="98895" y="67154"/>
                  </a:lnTo>
                  <a:lnTo>
                    <a:pt x="103368" y="65239"/>
                  </a:lnTo>
                  <a:cubicBezTo>
                    <a:pt x="106563" y="63962"/>
                    <a:pt x="108480" y="60770"/>
                    <a:pt x="108480" y="57578"/>
                  </a:cubicBezTo>
                  <a:lnTo>
                    <a:pt x="107841" y="47364"/>
                  </a:lnTo>
                  <a:cubicBezTo>
                    <a:pt x="107841" y="43533"/>
                    <a:pt x="105924" y="40980"/>
                    <a:pt x="102090" y="39703"/>
                  </a:cubicBezTo>
                  <a:close/>
                  <a:moveTo>
                    <a:pt x="91227" y="56301"/>
                  </a:moveTo>
                  <a:cubicBezTo>
                    <a:pt x="89310" y="56940"/>
                    <a:pt x="88032" y="58217"/>
                    <a:pt x="87393" y="60132"/>
                  </a:cubicBezTo>
                  <a:lnTo>
                    <a:pt x="84837" y="69069"/>
                  </a:lnTo>
                  <a:cubicBezTo>
                    <a:pt x="84198" y="70985"/>
                    <a:pt x="84837" y="72900"/>
                    <a:pt x="85476" y="74815"/>
                  </a:cubicBezTo>
                  <a:lnTo>
                    <a:pt x="88032" y="78645"/>
                  </a:lnTo>
                  <a:lnTo>
                    <a:pt x="86115" y="81199"/>
                  </a:lnTo>
                  <a:lnTo>
                    <a:pt x="81642" y="79922"/>
                  </a:lnTo>
                  <a:cubicBezTo>
                    <a:pt x="79725" y="79284"/>
                    <a:pt x="77808" y="79284"/>
                    <a:pt x="75891" y="80561"/>
                  </a:cubicBezTo>
                  <a:lnTo>
                    <a:pt x="68223" y="85668"/>
                  </a:lnTo>
                  <a:cubicBezTo>
                    <a:pt x="66306" y="86945"/>
                    <a:pt x="65667" y="88221"/>
                    <a:pt x="65028" y="90137"/>
                  </a:cubicBezTo>
                  <a:lnTo>
                    <a:pt x="64389" y="95244"/>
                  </a:lnTo>
                  <a:lnTo>
                    <a:pt x="61194" y="95882"/>
                  </a:lnTo>
                  <a:lnTo>
                    <a:pt x="58638" y="92052"/>
                  </a:lnTo>
                  <a:cubicBezTo>
                    <a:pt x="57360" y="90137"/>
                    <a:pt x="56082" y="89498"/>
                    <a:pt x="54165" y="88860"/>
                  </a:cubicBezTo>
                  <a:lnTo>
                    <a:pt x="45219" y="87583"/>
                  </a:lnTo>
                  <a:lnTo>
                    <a:pt x="44580" y="87583"/>
                  </a:lnTo>
                  <a:cubicBezTo>
                    <a:pt x="42663" y="87583"/>
                    <a:pt x="41385" y="88221"/>
                    <a:pt x="40107" y="89498"/>
                  </a:cubicBezTo>
                  <a:lnTo>
                    <a:pt x="36912" y="92690"/>
                  </a:lnTo>
                  <a:lnTo>
                    <a:pt x="33717" y="91413"/>
                  </a:lnTo>
                  <a:lnTo>
                    <a:pt x="34356" y="86306"/>
                  </a:lnTo>
                  <a:cubicBezTo>
                    <a:pt x="34356" y="84391"/>
                    <a:pt x="34356" y="82476"/>
                    <a:pt x="33078" y="81199"/>
                  </a:cubicBezTo>
                  <a:lnTo>
                    <a:pt x="26688" y="74177"/>
                  </a:lnTo>
                  <a:cubicBezTo>
                    <a:pt x="25411" y="72900"/>
                    <a:pt x="23493" y="72261"/>
                    <a:pt x="21577" y="72261"/>
                  </a:cubicBezTo>
                  <a:lnTo>
                    <a:pt x="16465" y="72261"/>
                  </a:lnTo>
                  <a:lnTo>
                    <a:pt x="15187" y="69069"/>
                  </a:lnTo>
                  <a:lnTo>
                    <a:pt x="19021" y="65877"/>
                  </a:lnTo>
                  <a:cubicBezTo>
                    <a:pt x="20299" y="64601"/>
                    <a:pt x="21577" y="62685"/>
                    <a:pt x="20938" y="60770"/>
                  </a:cubicBezTo>
                  <a:lnTo>
                    <a:pt x="20299" y="51194"/>
                  </a:lnTo>
                  <a:cubicBezTo>
                    <a:pt x="20299" y="49279"/>
                    <a:pt x="19021" y="47364"/>
                    <a:pt x="17743" y="46087"/>
                  </a:cubicBezTo>
                  <a:lnTo>
                    <a:pt x="13909" y="43533"/>
                  </a:lnTo>
                  <a:lnTo>
                    <a:pt x="15187" y="40341"/>
                  </a:lnTo>
                  <a:lnTo>
                    <a:pt x="20299" y="40341"/>
                  </a:lnTo>
                  <a:cubicBezTo>
                    <a:pt x="22216" y="40341"/>
                    <a:pt x="24133" y="39065"/>
                    <a:pt x="25411" y="37788"/>
                  </a:cubicBezTo>
                  <a:lnTo>
                    <a:pt x="31161" y="30765"/>
                  </a:lnTo>
                  <a:cubicBezTo>
                    <a:pt x="32439" y="29489"/>
                    <a:pt x="33078" y="26935"/>
                    <a:pt x="32439" y="25020"/>
                  </a:cubicBezTo>
                  <a:lnTo>
                    <a:pt x="31161" y="20551"/>
                  </a:lnTo>
                  <a:lnTo>
                    <a:pt x="33717" y="18636"/>
                  </a:lnTo>
                  <a:lnTo>
                    <a:pt x="37551" y="21828"/>
                  </a:lnTo>
                  <a:cubicBezTo>
                    <a:pt x="38829" y="23105"/>
                    <a:pt x="40746" y="23743"/>
                    <a:pt x="42663" y="23105"/>
                  </a:cubicBezTo>
                  <a:lnTo>
                    <a:pt x="51609" y="21189"/>
                  </a:lnTo>
                  <a:cubicBezTo>
                    <a:pt x="53526" y="20551"/>
                    <a:pt x="54804" y="19274"/>
                    <a:pt x="56082" y="17997"/>
                  </a:cubicBezTo>
                  <a:lnTo>
                    <a:pt x="57999" y="13529"/>
                  </a:lnTo>
                  <a:lnTo>
                    <a:pt x="61194" y="14167"/>
                  </a:lnTo>
                  <a:lnTo>
                    <a:pt x="61833" y="18636"/>
                  </a:lnTo>
                  <a:cubicBezTo>
                    <a:pt x="62472" y="20551"/>
                    <a:pt x="63111" y="21828"/>
                    <a:pt x="65028" y="23105"/>
                  </a:cubicBezTo>
                  <a:lnTo>
                    <a:pt x="73335" y="27573"/>
                  </a:lnTo>
                  <a:cubicBezTo>
                    <a:pt x="75252" y="28212"/>
                    <a:pt x="77169" y="28212"/>
                    <a:pt x="79086" y="27573"/>
                  </a:cubicBezTo>
                  <a:lnTo>
                    <a:pt x="83559" y="25658"/>
                  </a:lnTo>
                  <a:lnTo>
                    <a:pt x="86115" y="28212"/>
                  </a:lnTo>
                  <a:lnTo>
                    <a:pt x="83559" y="32681"/>
                  </a:lnTo>
                  <a:cubicBezTo>
                    <a:pt x="82920" y="34596"/>
                    <a:pt x="82281" y="36511"/>
                    <a:pt x="83559" y="38426"/>
                  </a:cubicBezTo>
                  <a:lnTo>
                    <a:pt x="87393" y="46725"/>
                  </a:lnTo>
                  <a:cubicBezTo>
                    <a:pt x="88032" y="48641"/>
                    <a:pt x="89310" y="49917"/>
                    <a:pt x="91227" y="50556"/>
                  </a:cubicBezTo>
                  <a:lnTo>
                    <a:pt x="95700" y="51833"/>
                  </a:lnTo>
                  <a:lnTo>
                    <a:pt x="95700" y="55025"/>
                  </a:lnTo>
                  <a:lnTo>
                    <a:pt x="91227" y="56301"/>
                  </a:lnTo>
                  <a:close/>
                </a:path>
              </a:pathLst>
            </a:custGeom>
            <a:grpFill/>
            <a:ln w="3373" cap="flat">
              <a:noFill/>
              <a:prstDash val="solid"/>
              <a:miter/>
            </a:ln>
          </p:spPr>
          <p:txBody>
            <a:bodyPr rtlCol="0" anchor="ctr"/>
            <a:lstStyle/>
            <a:p>
              <a:endParaRPr lang="en-US"/>
            </a:p>
          </p:txBody>
        </p:sp>
        <p:sp>
          <p:nvSpPr>
            <p:cNvPr id="97" name="Graphic 4">
              <a:extLst>
                <a:ext uri="{FF2B5EF4-FFF2-40B4-BE49-F238E27FC236}">
                  <a16:creationId xmlns:a16="http://schemas.microsoft.com/office/drawing/2014/main" id="{E2174D55-50AD-BD1C-4543-DBCE750988B9}"/>
                </a:ext>
              </a:extLst>
            </p:cNvPr>
            <p:cNvSpPr/>
            <p:nvPr/>
          </p:nvSpPr>
          <p:spPr>
            <a:xfrm>
              <a:off x="1658805" y="3067006"/>
              <a:ext cx="65221" cy="66414"/>
            </a:xfrm>
            <a:custGeom>
              <a:avLst/>
              <a:gdLst>
                <a:gd name="connsiteX0" fmla="*/ 31333 w 65221"/>
                <a:gd name="connsiteY0" fmla="*/ 21 h 66414"/>
                <a:gd name="connsiteX1" fmla="*/ 22 w 65221"/>
                <a:gd name="connsiteY1" fmla="*/ 35133 h 66414"/>
                <a:gd name="connsiteX2" fmla="*/ 32611 w 65221"/>
                <a:gd name="connsiteY2" fmla="*/ 66414 h 66414"/>
                <a:gd name="connsiteX3" fmla="*/ 33888 w 65221"/>
                <a:gd name="connsiteY3" fmla="*/ 66414 h 66414"/>
                <a:gd name="connsiteX4" fmla="*/ 65199 w 65221"/>
                <a:gd name="connsiteY4" fmla="*/ 31303 h 66414"/>
                <a:gd name="connsiteX5" fmla="*/ 31333 w 65221"/>
                <a:gd name="connsiteY5" fmla="*/ 21 h 66414"/>
                <a:gd name="connsiteX6" fmla="*/ 33249 w 65221"/>
                <a:gd name="connsiteY6" fmla="*/ 53647 h 66414"/>
                <a:gd name="connsiteX7" fmla="*/ 12802 w 65221"/>
                <a:gd name="connsiteY7" fmla="*/ 33218 h 66414"/>
                <a:gd name="connsiteX8" fmla="*/ 31333 w 65221"/>
                <a:gd name="connsiteY8" fmla="*/ 12789 h 66414"/>
                <a:gd name="connsiteX9" fmla="*/ 31972 w 65221"/>
                <a:gd name="connsiteY9" fmla="*/ 12789 h 66414"/>
                <a:gd name="connsiteX10" fmla="*/ 52419 w 65221"/>
                <a:gd name="connsiteY10" fmla="*/ 32579 h 66414"/>
                <a:gd name="connsiteX11" fmla="*/ 33249 w 65221"/>
                <a:gd name="connsiteY11" fmla="*/ 53647 h 66414"/>
                <a:gd name="connsiteX12" fmla="*/ 33249 w 65221"/>
                <a:gd name="connsiteY12" fmla="*/ 53647 h 6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21" h="66414">
                  <a:moveTo>
                    <a:pt x="31333" y="21"/>
                  </a:moveTo>
                  <a:cubicBezTo>
                    <a:pt x="12802" y="1298"/>
                    <a:pt x="-617" y="16619"/>
                    <a:pt x="22" y="35133"/>
                  </a:cubicBezTo>
                  <a:cubicBezTo>
                    <a:pt x="1300" y="52370"/>
                    <a:pt x="15358" y="65776"/>
                    <a:pt x="32611" y="66414"/>
                  </a:cubicBezTo>
                  <a:lnTo>
                    <a:pt x="33888" y="66414"/>
                  </a:lnTo>
                  <a:cubicBezTo>
                    <a:pt x="52419" y="65138"/>
                    <a:pt x="65838" y="49816"/>
                    <a:pt x="65199" y="31303"/>
                  </a:cubicBezTo>
                  <a:cubicBezTo>
                    <a:pt x="64560" y="13427"/>
                    <a:pt x="49224" y="-617"/>
                    <a:pt x="31333" y="21"/>
                  </a:cubicBezTo>
                  <a:close/>
                  <a:moveTo>
                    <a:pt x="33249" y="53647"/>
                  </a:moveTo>
                  <a:cubicBezTo>
                    <a:pt x="21748" y="53647"/>
                    <a:pt x="12802" y="44709"/>
                    <a:pt x="12802" y="33218"/>
                  </a:cubicBezTo>
                  <a:cubicBezTo>
                    <a:pt x="12802" y="22365"/>
                    <a:pt x="21109" y="13427"/>
                    <a:pt x="31333" y="12789"/>
                  </a:cubicBezTo>
                  <a:lnTo>
                    <a:pt x="31972" y="12789"/>
                  </a:lnTo>
                  <a:cubicBezTo>
                    <a:pt x="43473" y="12789"/>
                    <a:pt x="52419" y="21727"/>
                    <a:pt x="52419" y="32579"/>
                  </a:cubicBezTo>
                  <a:cubicBezTo>
                    <a:pt x="52419" y="43432"/>
                    <a:pt x="44751" y="53647"/>
                    <a:pt x="33249" y="53647"/>
                  </a:cubicBezTo>
                  <a:lnTo>
                    <a:pt x="33249" y="53647"/>
                  </a:lnTo>
                  <a:close/>
                </a:path>
              </a:pathLst>
            </a:custGeom>
            <a:grpFill/>
            <a:ln w="3373" cap="flat">
              <a:noFill/>
              <a:prstDash val="solid"/>
              <a:miter/>
            </a:ln>
          </p:spPr>
          <p:txBody>
            <a:bodyPr rtlCol="0" anchor="ctr"/>
            <a:lstStyle/>
            <a:p>
              <a:endParaRPr lang="en-US"/>
            </a:p>
          </p:txBody>
        </p:sp>
        <p:sp>
          <p:nvSpPr>
            <p:cNvPr id="98" name="Graphic 4">
              <a:extLst>
                <a:ext uri="{FF2B5EF4-FFF2-40B4-BE49-F238E27FC236}">
                  <a16:creationId xmlns:a16="http://schemas.microsoft.com/office/drawing/2014/main" id="{66D729D6-3F46-0585-0BBF-EEC6B11BBCC9}"/>
                </a:ext>
              </a:extLst>
            </p:cNvPr>
            <p:cNvSpPr/>
            <p:nvPr/>
          </p:nvSpPr>
          <p:spPr>
            <a:xfrm>
              <a:off x="1573681" y="2918430"/>
              <a:ext cx="135748" cy="135829"/>
            </a:xfrm>
            <a:custGeom>
              <a:avLst/>
              <a:gdLst>
                <a:gd name="connsiteX0" fmla="*/ 83868 w 135748"/>
                <a:gd name="connsiteY0" fmla="*/ 129446 h 135829"/>
                <a:gd name="connsiteX1" fmla="*/ 85785 w 135748"/>
                <a:gd name="connsiteY1" fmla="*/ 122423 h 135829"/>
                <a:gd name="connsiteX2" fmla="*/ 91536 w 135748"/>
                <a:gd name="connsiteY2" fmla="*/ 119870 h 135829"/>
                <a:gd name="connsiteX3" fmla="*/ 97926 w 135748"/>
                <a:gd name="connsiteY3" fmla="*/ 123700 h 135829"/>
                <a:gd name="connsiteX4" fmla="*/ 108150 w 135748"/>
                <a:gd name="connsiteY4" fmla="*/ 122423 h 135829"/>
                <a:gd name="connsiteX5" fmla="*/ 117735 w 135748"/>
                <a:gd name="connsiteY5" fmla="*/ 113486 h 135829"/>
                <a:gd name="connsiteX6" fmla="*/ 119652 w 135748"/>
                <a:gd name="connsiteY6" fmla="*/ 103910 h 135829"/>
                <a:gd name="connsiteX7" fmla="*/ 116457 w 135748"/>
                <a:gd name="connsiteY7" fmla="*/ 96887 h 135829"/>
                <a:gd name="connsiteX8" fmla="*/ 119652 w 135748"/>
                <a:gd name="connsiteY8" fmla="*/ 91780 h 135829"/>
                <a:gd name="connsiteX9" fmla="*/ 126681 w 135748"/>
                <a:gd name="connsiteY9" fmla="*/ 90503 h 135829"/>
                <a:gd name="connsiteX10" fmla="*/ 133710 w 135748"/>
                <a:gd name="connsiteY10" fmla="*/ 83481 h 135829"/>
                <a:gd name="connsiteX11" fmla="*/ 135626 w 135748"/>
                <a:gd name="connsiteY11" fmla="*/ 70713 h 135829"/>
                <a:gd name="connsiteX12" fmla="*/ 131153 w 135748"/>
                <a:gd name="connsiteY12" fmla="*/ 61776 h 135829"/>
                <a:gd name="connsiteX13" fmla="*/ 124763 w 135748"/>
                <a:gd name="connsiteY13" fmla="*/ 58584 h 135829"/>
                <a:gd name="connsiteX14" fmla="*/ 123486 w 135748"/>
                <a:gd name="connsiteY14" fmla="*/ 52838 h 135829"/>
                <a:gd name="connsiteX15" fmla="*/ 127958 w 135748"/>
                <a:gd name="connsiteY15" fmla="*/ 47092 h 135829"/>
                <a:gd name="connsiteX16" fmla="*/ 128597 w 135748"/>
                <a:gd name="connsiteY16" fmla="*/ 36878 h 135829"/>
                <a:gd name="connsiteX17" fmla="*/ 121568 w 135748"/>
                <a:gd name="connsiteY17" fmla="*/ 26025 h 135829"/>
                <a:gd name="connsiteX18" fmla="*/ 111984 w 135748"/>
                <a:gd name="connsiteY18" fmla="*/ 22195 h 135829"/>
                <a:gd name="connsiteX19" fmla="*/ 104955 w 135748"/>
                <a:gd name="connsiteY19" fmla="*/ 24110 h 135829"/>
                <a:gd name="connsiteX20" fmla="*/ 100482 w 135748"/>
                <a:gd name="connsiteY20" fmla="*/ 20280 h 135829"/>
                <a:gd name="connsiteX21" fmla="*/ 100482 w 135748"/>
                <a:gd name="connsiteY21" fmla="*/ 12619 h 135829"/>
                <a:gd name="connsiteX22" fmla="*/ 94731 w 135748"/>
                <a:gd name="connsiteY22" fmla="*/ 4320 h 135829"/>
                <a:gd name="connsiteX23" fmla="*/ 82590 w 135748"/>
                <a:gd name="connsiteY23" fmla="*/ 489 h 135829"/>
                <a:gd name="connsiteX24" fmla="*/ 73005 w 135748"/>
                <a:gd name="connsiteY24" fmla="*/ 3681 h 135829"/>
                <a:gd name="connsiteX25" fmla="*/ 68532 w 135748"/>
                <a:gd name="connsiteY25" fmla="*/ 9427 h 135829"/>
                <a:gd name="connsiteX26" fmla="*/ 62781 w 135748"/>
                <a:gd name="connsiteY26" fmla="*/ 9427 h 135829"/>
                <a:gd name="connsiteX27" fmla="*/ 57669 w 135748"/>
                <a:gd name="connsiteY27" fmla="*/ 3681 h 135829"/>
                <a:gd name="connsiteX28" fmla="*/ 48084 w 135748"/>
                <a:gd name="connsiteY28" fmla="*/ 1128 h 135829"/>
                <a:gd name="connsiteX29" fmla="*/ 35943 w 135748"/>
                <a:gd name="connsiteY29" fmla="*/ 6235 h 135829"/>
                <a:gd name="connsiteX30" fmla="*/ 30831 w 135748"/>
                <a:gd name="connsiteY30" fmla="*/ 14534 h 135829"/>
                <a:gd name="connsiteX31" fmla="*/ 30831 w 135748"/>
                <a:gd name="connsiteY31" fmla="*/ 21556 h 135829"/>
                <a:gd name="connsiteX32" fmla="*/ 26358 w 135748"/>
                <a:gd name="connsiteY32" fmla="*/ 25387 h 135829"/>
                <a:gd name="connsiteX33" fmla="*/ 19330 w 135748"/>
                <a:gd name="connsiteY33" fmla="*/ 24110 h 135829"/>
                <a:gd name="connsiteX34" fmla="*/ 10384 w 135748"/>
                <a:gd name="connsiteY34" fmla="*/ 28579 h 135829"/>
                <a:gd name="connsiteX35" fmla="*/ 4633 w 135748"/>
                <a:gd name="connsiteY35" fmla="*/ 40070 h 135829"/>
                <a:gd name="connsiteX36" fmla="*/ 5911 w 135748"/>
                <a:gd name="connsiteY36" fmla="*/ 50284 h 135829"/>
                <a:gd name="connsiteX37" fmla="*/ 11023 w 135748"/>
                <a:gd name="connsiteY37" fmla="*/ 56030 h 135829"/>
                <a:gd name="connsiteX38" fmla="*/ 10384 w 135748"/>
                <a:gd name="connsiteY38" fmla="*/ 61776 h 135829"/>
                <a:gd name="connsiteX39" fmla="*/ 3994 w 135748"/>
                <a:gd name="connsiteY39" fmla="*/ 65606 h 135829"/>
                <a:gd name="connsiteX40" fmla="*/ 160 w 135748"/>
                <a:gd name="connsiteY40" fmla="*/ 74544 h 135829"/>
                <a:gd name="connsiteX41" fmla="*/ 2716 w 135748"/>
                <a:gd name="connsiteY41" fmla="*/ 87312 h 135829"/>
                <a:gd name="connsiteX42" fmla="*/ 10384 w 135748"/>
                <a:gd name="connsiteY42" fmla="*/ 94334 h 135829"/>
                <a:gd name="connsiteX43" fmla="*/ 18052 w 135748"/>
                <a:gd name="connsiteY43" fmla="*/ 94972 h 135829"/>
                <a:gd name="connsiteX44" fmla="*/ 21247 w 135748"/>
                <a:gd name="connsiteY44" fmla="*/ 100079 h 135829"/>
                <a:gd name="connsiteX45" fmla="*/ 18691 w 135748"/>
                <a:gd name="connsiteY45" fmla="*/ 107102 h 135829"/>
                <a:gd name="connsiteX46" fmla="*/ 21247 w 135748"/>
                <a:gd name="connsiteY46" fmla="*/ 116678 h 135829"/>
                <a:gd name="connsiteX47" fmla="*/ 31470 w 135748"/>
                <a:gd name="connsiteY47" fmla="*/ 124339 h 135829"/>
                <a:gd name="connsiteX48" fmla="*/ 41694 w 135748"/>
                <a:gd name="connsiteY48" fmla="*/ 124977 h 135829"/>
                <a:gd name="connsiteX49" fmla="*/ 48084 w 135748"/>
                <a:gd name="connsiteY49" fmla="*/ 121147 h 135829"/>
                <a:gd name="connsiteX50" fmla="*/ 53835 w 135748"/>
                <a:gd name="connsiteY50" fmla="*/ 123062 h 135829"/>
                <a:gd name="connsiteX51" fmla="*/ 56391 w 135748"/>
                <a:gd name="connsiteY51" fmla="*/ 130084 h 135829"/>
                <a:gd name="connsiteX52" fmla="*/ 64698 w 135748"/>
                <a:gd name="connsiteY52" fmla="*/ 135830 h 135829"/>
                <a:gd name="connsiteX53" fmla="*/ 64698 w 135748"/>
                <a:gd name="connsiteY53" fmla="*/ 135830 h 135829"/>
                <a:gd name="connsiteX54" fmla="*/ 77478 w 135748"/>
                <a:gd name="connsiteY54" fmla="*/ 135191 h 135829"/>
                <a:gd name="connsiteX55" fmla="*/ 83868 w 135748"/>
                <a:gd name="connsiteY55" fmla="*/ 129446 h 135829"/>
                <a:gd name="connsiteX56" fmla="*/ 72366 w 135748"/>
                <a:gd name="connsiteY56" fmla="*/ 123062 h 135829"/>
                <a:gd name="connsiteX57" fmla="*/ 65337 w 135748"/>
                <a:gd name="connsiteY57" fmla="*/ 123062 h 135829"/>
                <a:gd name="connsiteX58" fmla="*/ 62781 w 135748"/>
                <a:gd name="connsiteY58" fmla="*/ 116039 h 135829"/>
                <a:gd name="connsiteX59" fmla="*/ 58947 w 135748"/>
                <a:gd name="connsiteY59" fmla="*/ 112209 h 135829"/>
                <a:gd name="connsiteX60" fmla="*/ 47445 w 135748"/>
                <a:gd name="connsiteY60" fmla="*/ 108379 h 135829"/>
                <a:gd name="connsiteX61" fmla="*/ 45528 w 135748"/>
                <a:gd name="connsiteY61" fmla="*/ 108379 h 135829"/>
                <a:gd name="connsiteX62" fmla="*/ 41694 w 135748"/>
                <a:gd name="connsiteY62" fmla="*/ 109655 h 135829"/>
                <a:gd name="connsiteX63" fmla="*/ 35304 w 135748"/>
                <a:gd name="connsiteY63" fmla="*/ 113486 h 135829"/>
                <a:gd name="connsiteX64" fmla="*/ 29553 w 135748"/>
                <a:gd name="connsiteY64" fmla="*/ 109017 h 135829"/>
                <a:gd name="connsiteX65" fmla="*/ 32109 w 135748"/>
                <a:gd name="connsiteY65" fmla="*/ 101995 h 135829"/>
                <a:gd name="connsiteX66" fmla="*/ 31470 w 135748"/>
                <a:gd name="connsiteY66" fmla="*/ 96249 h 135829"/>
                <a:gd name="connsiteX67" fmla="*/ 25080 w 135748"/>
                <a:gd name="connsiteY67" fmla="*/ 86035 h 135829"/>
                <a:gd name="connsiteX68" fmla="*/ 20608 w 135748"/>
                <a:gd name="connsiteY68" fmla="*/ 82843 h 135829"/>
                <a:gd name="connsiteX69" fmla="*/ 12940 w 135748"/>
                <a:gd name="connsiteY69" fmla="*/ 82204 h 135829"/>
                <a:gd name="connsiteX70" fmla="*/ 11662 w 135748"/>
                <a:gd name="connsiteY70" fmla="*/ 75182 h 135829"/>
                <a:gd name="connsiteX71" fmla="*/ 18052 w 135748"/>
                <a:gd name="connsiteY71" fmla="*/ 71352 h 135829"/>
                <a:gd name="connsiteX72" fmla="*/ 21247 w 135748"/>
                <a:gd name="connsiteY72" fmla="*/ 66883 h 135829"/>
                <a:gd name="connsiteX73" fmla="*/ 23163 w 135748"/>
                <a:gd name="connsiteY73" fmla="*/ 54753 h 135829"/>
                <a:gd name="connsiteX74" fmla="*/ 21247 w 135748"/>
                <a:gd name="connsiteY74" fmla="*/ 49646 h 135829"/>
                <a:gd name="connsiteX75" fmla="*/ 16135 w 135748"/>
                <a:gd name="connsiteY75" fmla="*/ 43900 h 135829"/>
                <a:gd name="connsiteX76" fmla="*/ 19330 w 135748"/>
                <a:gd name="connsiteY76" fmla="*/ 37516 h 135829"/>
                <a:gd name="connsiteX77" fmla="*/ 26997 w 135748"/>
                <a:gd name="connsiteY77" fmla="*/ 38793 h 135829"/>
                <a:gd name="connsiteX78" fmla="*/ 32109 w 135748"/>
                <a:gd name="connsiteY78" fmla="*/ 37516 h 135829"/>
                <a:gd name="connsiteX79" fmla="*/ 41055 w 135748"/>
                <a:gd name="connsiteY79" fmla="*/ 29217 h 135829"/>
                <a:gd name="connsiteX80" fmla="*/ 42972 w 135748"/>
                <a:gd name="connsiteY80" fmla="*/ 24110 h 135829"/>
                <a:gd name="connsiteX81" fmla="*/ 42972 w 135748"/>
                <a:gd name="connsiteY81" fmla="*/ 16449 h 135829"/>
                <a:gd name="connsiteX82" fmla="*/ 49362 w 135748"/>
                <a:gd name="connsiteY82" fmla="*/ 13896 h 135829"/>
                <a:gd name="connsiteX83" fmla="*/ 54474 w 135748"/>
                <a:gd name="connsiteY83" fmla="*/ 19641 h 135829"/>
                <a:gd name="connsiteX84" fmla="*/ 59586 w 135748"/>
                <a:gd name="connsiteY84" fmla="*/ 21556 h 135829"/>
                <a:gd name="connsiteX85" fmla="*/ 71727 w 135748"/>
                <a:gd name="connsiteY85" fmla="*/ 20918 h 135829"/>
                <a:gd name="connsiteX86" fmla="*/ 76839 w 135748"/>
                <a:gd name="connsiteY86" fmla="*/ 18364 h 135829"/>
                <a:gd name="connsiteX87" fmla="*/ 81312 w 135748"/>
                <a:gd name="connsiteY87" fmla="*/ 12619 h 135829"/>
                <a:gd name="connsiteX88" fmla="*/ 87702 w 135748"/>
                <a:gd name="connsiteY88" fmla="*/ 14534 h 135829"/>
                <a:gd name="connsiteX89" fmla="*/ 87702 w 135748"/>
                <a:gd name="connsiteY89" fmla="*/ 22195 h 135829"/>
                <a:gd name="connsiteX90" fmla="*/ 90258 w 135748"/>
                <a:gd name="connsiteY90" fmla="*/ 27302 h 135829"/>
                <a:gd name="connsiteX91" fmla="*/ 99843 w 135748"/>
                <a:gd name="connsiteY91" fmla="*/ 34963 h 135829"/>
                <a:gd name="connsiteX92" fmla="*/ 105594 w 135748"/>
                <a:gd name="connsiteY92" fmla="*/ 36240 h 135829"/>
                <a:gd name="connsiteX93" fmla="*/ 112623 w 135748"/>
                <a:gd name="connsiteY93" fmla="*/ 34324 h 135829"/>
                <a:gd name="connsiteX94" fmla="*/ 116457 w 135748"/>
                <a:gd name="connsiteY94" fmla="*/ 40070 h 135829"/>
                <a:gd name="connsiteX95" fmla="*/ 111345 w 135748"/>
                <a:gd name="connsiteY95" fmla="*/ 45816 h 135829"/>
                <a:gd name="connsiteX96" fmla="*/ 110067 w 135748"/>
                <a:gd name="connsiteY96" fmla="*/ 50923 h 135829"/>
                <a:gd name="connsiteX97" fmla="*/ 112623 w 135748"/>
                <a:gd name="connsiteY97" fmla="*/ 63052 h 135829"/>
                <a:gd name="connsiteX98" fmla="*/ 115818 w 135748"/>
                <a:gd name="connsiteY98" fmla="*/ 67521 h 135829"/>
                <a:gd name="connsiteX99" fmla="*/ 122208 w 135748"/>
                <a:gd name="connsiteY99" fmla="*/ 70713 h 135829"/>
                <a:gd name="connsiteX100" fmla="*/ 121568 w 135748"/>
                <a:gd name="connsiteY100" fmla="*/ 77736 h 135829"/>
                <a:gd name="connsiteX101" fmla="*/ 113901 w 135748"/>
                <a:gd name="connsiteY101" fmla="*/ 79012 h 135829"/>
                <a:gd name="connsiteX102" fmla="*/ 109428 w 135748"/>
                <a:gd name="connsiteY102" fmla="*/ 82204 h 135829"/>
                <a:gd name="connsiteX103" fmla="*/ 103677 w 135748"/>
                <a:gd name="connsiteY103" fmla="*/ 93057 h 135829"/>
                <a:gd name="connsiteX104" fmla="*/ 103677 w 135748"/>
                <a:gd name="connsiteY104" fmla="*/ 98803 h 135829"/>
                <a:gd name="connsiteX105" fmla="*/ 106872 w 135748"/>
                <a:gd name="connsiteY105" fmla="*/ 105825 h 135829"/>
                <a:gd name="connsiteX106" fmla="*/ 101760 w 135748"/>
                <a:gd name="connsiteY106" fmla="*/ 110294 h 135829"/>
                <a:gd name="connsiteX107" fmla="*/ 95370 w 135748"/>
                <a:gd name="connsiteY107" fmla="*/ 106463 h 135829"/>
                <a:gd name="connsiteX108" fmla="*/ 89619 w 135748"/>
                <a:gd name="connsiteY108" fmla="*/ 106463 h 135829"/>
                <a:gd name="connsiteX109" fmla="*/ 78117 w 135748"/>
                <a:gd name="connsiteY109" fmla="*/ 110932 h 135829"/>
                <a:gd name="connsiteX110" fmla="*/ 74283 w 135748"/>
                <a:gd name="connsiteY110" fmla="*/ 114763 h 135829"/>
                <a:gd name="connsiteX111" fmla="*/ 72366 w 135748"/>
                <a:gd name="connsiteY111" fmla="*/ 123062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5748" h="135829">
                  <a:moveTo>
                    <a:pt x="83868" y="129446"/>
                  </a:moveTo>
                  <a:lnTo>
                    <a:pt x="85785" y="122423"/>
                  </a:lnTo>
                  <a:lnTo>
                    <a:pt x="91536" y="119870"/>
                  </a:lnTo>
                  <a:lnTo>
                    <a:pt x="97926" y="123700"/>
                  </a:lnTo>
                  <a:cubicBezTo>
                    <a:pt x="101121" y="125615"/>
                    <a:pt x="104955" y="124977"/>
                    <a:pt x="108150" y="122423"/>
                  </a:cubicBezTo>
                  <a:lnTo>
                    <a:pt x="117735" y="113486"/>
                  </a:lnTo>
                  <a:cubicBezTo>
                    <a:pt x="120291" y="110932"/>
                    <a:pt x="121568" y="107102"/>
                    <a:pt x="119652" y="103910"/>
                  </a:cubicBezTo>
                  <a:lnTo>
                    <a:pt x="116457" y="96887"/>
                  </a:lnTo>
                  <a:lnTo>
                    <a:pt x="119652" y="91780"/>
                  </a:lnTo>
                  <a:lnTo>
                    <a:pt x="126681" y="90503"/>
                  </a:lnTo>
                  <a:cubicBezTo>
                    <a:pt x="130515" y="89865"/>
                    <a:pt x="133070" y="86673"/>
                    <a:pt x="133710" y="83481"/>
                  </a:cubicBezTo>
                  <a:lnTo>
                    <a:pt x="135626" y="70713"/>
                  </a:lnTo>
                  <a:cubicBezTo>
                    <a:pt x="136265" y="66883"/>
                    <a:pt x="134348" y="63691"/>
                    <a:pt x="131153" y="61776"/>
                  </a:cubicBezTo>
                  <a:lnTo>
                    <a:pt x="124763" y="58584"/>
                  </a:lnTo>
                  <a:lnTo>
                    <a:pt x="123486" y="52838"/>
                  </a:lnTo>
                  <a:lnTo>
                    <a:pt x="127958" y="47092"/>
                  </a:lnTo>
                  <a:cubicBezTo>
                    <a:pt x="130515" y="44539"/>
                    <a:pt x="130515" y="40070"/>
                    <a:pt x="128597" y="36878"/>
                  </a:cubicBezTo>
                  <a:lnTo>
                    <a:pt x="121568" y="26025"/>
                  </a:lnTo>
                  <a:cubicBezTo>
                    <a:pt x="119652" y="22833"/>
                    <a:pt x="115818" y="21556"/>
                    <a:pt x="111984" y="22195"/>
                  </a:cubicBezTo>
                  <a:lnTo>
                    <a:pt x="104955" y="24110"/>
                  </a:lnTo>
                  <a:lnTo>
                    <a:pt x="100482" y="20280"/>
                  </a:lnTo>
                  <a:lnTo>
                    <a:pt x="100482" y="12619"/>
                  </a:lnTo>
                  <a:cubicBezTo>
                    <a:pt x="100482" y="8788"/>
                    <a:pt x="97926" y="5596"/>
                    <a:pt x="94731" y="4320"/>
                  </a:cubicBezTo>
                  <a:lnTo>
                    <a:pt x="82590" y="489"/>
                  </a:lnTo>
                  <a:cubicBezTo>
                    <a:pt x="79395" y="-788"/>
                    <a:pt x="74922" y="489"/>
                    <a:pt x="73005" y="3681"/>
                  </a:cubicBezTo>
                  <a:lnTo>
                    <a:pt x="68532" y="9427"/>
                  </a:lnTo>
                  <a:lnTo>
                    <a:pt x="62781" y="9427"/>
                  </a:lnTo>
                  <a:lnTo>
                    <a:pt x="57669" y="3681"/>
                  </a:lnTo>
                  <a:cubicBezTo>
                    <a:pt x="55113" y="1128"/>
                    <a:pt x="51279" y="-149"/>
                    <a:pt x="48084" y="1128"/>
                  </a:cubicBezTo>
                  <a:lnTo>
                    <a:pt x="35943" y="6235"/>
                  </a:lnTo>
                  <a:cubicBezTo>
                    <a:pt x="32748" y="7512"/>
                    <a:pt x="30192" y="11342"/>
                    <a:pt x="30831" y="14534"/>
                  </a:cubicBezTo>
                  <a:lnTo>
                    <a:pt x="30831" y="21556"/>
                  </a:lnTo>
                  <a:lnTo>
                    <a:pt x="26358" y="25387"/>
                  </a:lnTo>
                  <a:lnTo>
                    <a:pt x="19330" y="24110"/>
                  </a:lnTo>
                  <a:cubicBezTo>
                    <a:pt x="15496" y="23472"/>
                    <a:pt x="12301" y="25387"/>
                    <a:pt x="10384" y="28579"/>
                  </a:cubicBezTo>
                  <a:lnTo>
                    <a:pt x="4633" y="40070"/>
                  </a:lnTo>
                  <a:cubicBezTo>
                    <a:pt x="2716" y="43262"/>
                    <a:pt x="3355" y="47092"/>
                    <a:pt x="5911" y="50284"/>
                  </a:cubicBezTo>
                  <a:lnTo>
                    <a:pt x="11023" y="56030"/>
                  </a:lnTo>
                  <a:lnTo>
                    <a:pt x="10384" y="61776"/>
                  </a:lnTo>
                  <a:lnTo>
                    <a:pt x="3994" y="65606"/>
                  </a:lnTo>
                  <a:cubicBezTo>
                    <a:pt x="799" y="67521"/>
                    <a:pt x="-479" y="71352"/>
                    <a:pt x="160" y="74544"/>
                  </a:cubicBezTo>
                  <a:lnTo>
                    <a:pt x="2716" y="87312"/>
                  </a:lnTo>
                  <a:cubicBezTo>
                    <a:pt x="3355" y="91142"/>
                    <a:pt x="6550" y="93695"/>
                    <a:pt x="10384" y="94334"/>
                  </a:cubicBezTo>
                  <a:lnTo>
                    <a:pt x="18052" y="94972"/>
                  </a:lnTo>
                  <a:lnTo>
                    <a:pt x="21247" y="100079"/>
                  </a:lnTo>
                  <a:lnTo>
                    <a:pt x="18691" y="107102"/>
                  </a:lnTo>
                  <a:cubicBezTo>
                    <a:pt x="17413" y="110294"/>
                    <a:pt x="18691" y="114763"/>
                    <a:pt x="21247" y="116678"/>
                  </a:cubicBezTo>
                  <a:lnTo>
                    <a:pt x="31470" y="124339"/>
                  </a:lnTo>
                  <a:cubicBezTo>
                    <a:pt x="34665" y="126892"/>
                    <a:pt x="38499" y="126892"/>
                    <a:pt x="41694" y="124977"/>
                  </a:cubicBezTo>
                  <a:lnTo>
                    <a:pt x="48084" y="121147"/>
                  </a:lnTo>
                  <a:lnTo>
                    <a:pt x="53835" y="123062"/>
                  </a:lnTo>
                  <a:lnTo>
                    <a:pt x="56391" y="130084"/>
                  </a:lnTo>
                  <a:cubicBezTo>
                    <a:pt x="57669" y="133276"/>
                    <a:pt x="60864" y="135830"/>
                    <a:pt x="64698" y="135830"/>
                  </a:cubicBezTo>
                  <a:lnTo>
                    <a:pt x="64698" y="135830"/>
                  </a:lnTo>
                  <a:lnTo>
                    <a:pt x="77478" y="135191"/>
                  </a:lnTo>
                  <a:cubicBezTo>
                    <a:pt x="79395" y="135191"/>
                    <a:pt x="82590" y="133276"/>
                    <a:pt x="83868" y="129446"/>
                  </a:cubicBezTo>
                  <a:close/>
                  <a:moveTo>
                    <a:pt x="72366" y="123062"/>
                  </a:moveTo>
                  <a:lnTo>
                    <a:pt x="65337" y="123062"/>
                  </a:lnTo>
                  <a:lnTo>
                    <a:pt x="62781" y="116039"/>
                  </a:lnTo>
                  <a:cubicBezTo>
                    <a:pt x="62142" y="114124"/>
                    <a:pt x="60864" y="112847"/>
                    <a:pt x="58947" y="112209"/>
                  </a:cubicBezTo>
                  <a:lnTo>
                    <a:pt x="47445" y="108379"/>
                  </a:lnTo>
                  <a:cubicBezTo>
                    <a:pt x="46806" y="108379"/>
                    <a:pt x="46167" y="108379"/>
                    <a:pt x="45528" y="108379"/>
                  </a:cubicBezTo>
                  <a:cubicBezTo>
                    <a:pt x="44250" y="108379"/>
                    <a:pt x="42972" y="109017"/>
                    <a:pt x="41694" y="109655"/>
                  </a:cubicBezTo>
                  <a:lnTo>
                    <a:pt x="35304" y="113486"/>
                  </a:lnTo>
                  <a:lnTo>
                    <a:pt x="29553" y="109017"/>
                  </a:lnTo>
                  <a:lnTo>
                    <a:pt x="32109" y="101995"/>
                  </a:lnTo>
                  <a:cubicBezTo>
                    <a:pt x="32748" y="100079"/>
                    <a:pt x="32748" y="98164"/>
                    <a:pt x="31470" y="96249"/>
                  </a:cubicBezTo>
                  <a:lnTo>
                    <a:pt x="25080" y="86035"/>
                  </a:lnTo>
                  <a:cubicBezTo>
                    <a:pt x="23803" y="84120"/>
                    <a:pt x="22525" y="83481"/>
                    <a:pt x="20608" y="82843"/>
                  </a:cubicBezTo>
                  <a:lnTo>
                    <a:pt x="12940" y="82204"/>
                  </a:lnTo>
                  <a:lnTo>
                    <a:pt x="11662" y="75182"/>
                  </a:lnTo>
                  <a:lnTo>
                    <a:pt x="18052" y="71352"/>
                  </a:lnTo>
                  <a:cubicBezTo>
                    <a:pt x="19969" y="70075"/>
                    <a:pt x="20608" y="68798"/>
                    <a:pt x="21247" y="66883"/>
                  </a:cubicBezTo>
                  <a:lnTo>
                    <a:pt x="23163" y="54753"/>
                  </a:lnTo>
                  <a:cubicBezTo>
                    <a:pt x="23163" y="52838"/>
                    <a:pt x="22525" y="50923"/>
                    <a:pt x="21247" y="49646"/>
                  </a:cubicBezTo>
                  <a:lnTo>
                    <a:pt x="16135" y="43900"/>
                  </a:lnTo>
                  <a:lnTo>
                    <a:pt x="19330" y="37516"/>
                  </a:lnTo>
                  <a:lnTo>
                    <a:pt x="26997" y="38793"/>
                  </a:lnTo>
                  <a:cubicBezTo>
                    <a:pt x="28914" y="38793"/>
                    <a:pt x="30831" y="38793"/>
                    <a:pt x="32109" y="37516"/>
                  </a:cubicBezTo>
                  <a:lnTo>
                    <a:pt x="41055" y="29217"/>
                  </a:lnTo>
                  <a:cubicBezTo>
                    <a:pt x="42333" y="27940"/>
                    <a:pt x="42972" y="26025"/>
                    <a:pt x="42972" y="24110"/>
                  </a:cubicBezTo>
                  <a:lnTo>
                    <a:pt x="42972" y="16449"/>
                  </a:lnTo>
                  <a:lnTo>
                    <a:pt x="49362" y="13896"/>
                  </a:lnTo>
                  <a:lnTo>
                    <a:pt x="54474" y="19641"/>
                  </a:lnTo>
                  <a:cubicBezTo>
                    <a:pt x="55752" y="20918"/>
                    <a:pt x="57669" y="22195"/>
                    <a:pt x="59586" y="21556"/>
                  </a:cubicBezTo>
                  <a:lnTo>
                    <a:pt x="71727" y="20918"/>
                  </a:lnTo>
                  <a:cubicBezTo>
                    <a:pt x="73644" y="20918"/>
                    <a:pt x="75561" y="19641"/>
                    <a:pt x="76839" y="18364"/>
                  </a:cubicBezTo>
                  <a:lnTo>
                    <a:pt x="81312" y="12619"/>
                  </a:lnTo>
                  <a:lnTo>
                    <a:pt x="87702" y="14534"/>
                  </a:lnTo>
                  <a:lnTo>
                    <a:pt x="87702" y="22195"/>
                  </a:lnTo>
                  <a:cubicBezTo>
                    <a:pt x="87702" y="24110"/>
                    <a:pt x="88341" y="26025"/>
                    <a:pt x="90258" y="27302"/>
                  </a:cubicBezTo>
                  <a:lnTo>
                    <a:pt x="99843" y="34963"/>
                  </a:lnTo>
                  <a:cubicBezTo>
                    <a:pt x="101121" y="36240"/>
                    <a:pt x="103677" y="36878"/>
                    <a:pt x="105594" y="36240"/>
                  </a:cubicBezTo>
                  <a:lnTo>
                    <a:pt x="112623" y="34324"/>
                  </a:lnTo>
                  <a:lnTo>
                    <a:pt x="116457" y="40070"/>
                  </a:lnTo>
                  <a:lnTo>
                    <a:pt x="111345" y="45816"/>
                  </a:lnTo>
                  <a:cubicBezTo>
                    <a:pt x="110067" y="47092"/>
                    <a:pt x="109428" y="49008"/>
                    <a:pt x="110067" y="50923"/>
                  </a:cubicBezTo>
                  <a:lnTo>
                    <a:pt x="112623" y="63052"/>
                  </a:lnTo>
                  <a:cubicBezTo>
                    <a:pt x="113262" y="64968"/>
                    <a:pt x="114540" y="66244"/>
                    <a:pt x="115818" y="67521"/>
                  </a:cubicBezTo>
                  <a:lnTo>
                    <a:pt x="122208" y="70713"/>
                  </a:lnTo>
                  <a:lnTo>
                    <a:pt x="121568" y="77736"/>
                  </a:lnTo>
                  <a:lnTo>
                    <a:pt x="113901" y="79012"/>
                  </a:lnTo>
                  <a:cubicBezTo>
                    <a:pt x="111984" y="79651"/>
                    <a:pt x="110067" y="80289"/>
                    <a:pt x="109428" y="82204"/>
                  </a:cubicBezTo>
                  <a:lnTo>
                    <a:pt x="103677" y="93057"/>
                  </a:lnTo>
                  <a:cubicBezTo>
                    <a:pt x="103038" y="94972"/>
                    <a:pt x="103038" y="96887"/>
                    <a:pt x="103677" y="98803"/>
                  </a:cubicBezTo>
                  <a:lnTo>
                    <a:pt x="106872" y="105825"/>
                  </a:lnTo>
                  <a:lnTo>
                    <a:pt x="101760" y="110294"/>
                  </a:lnTo>
                  <a:lnTo>
                    <a:pt x="95370" y="106463"/>
                  </a:lnTo>
                  <a:cubicBezTo>
                    <a:pt x="93453" y="105825"/>
                    <a:pt x="91536" y="105187"/>
                    <a:pt x="89619" y="106463"/>
                  </a:cubicBezTo>
                  <a:lnTo>
                    <a:pt x="78117" y="110932"/>
                  </a:lnTo>
                  <a:cubicBezTo>
                    <a:pt x="76200" y="111571"/>
                    <a:pt x="74922" y="112847"/>
                    <a:pt x="74283" y="114763"/>
                  </a:cubicBezTo>
                  <a:lnTo>
                    <a:pt x="72366" y="123062"/>
                  </a:lnTo>
                  <a:close/>
                </a:path>
              </a:pathLst>
            </a:custGeom>
            <a:grpFill/>
            <a:ln w="3373" cap="flat">
              <a:noFill/>
              <a:prstDash val="solid"/>
              <a:miter/>
            </a:ln>
          </p:spPr>
          <p:txBody>
            <a:bodyPr rtlCol="0" anchor="ctr"/>
            <a:lstStyle/>
            <a:p>
              <a:endParaRPr lang="en-US"/>
            </a:p>
          </p:txBody>
        </p:sp>
        <p:sp>
          <p:nvSpPr>
            <p:cNvPr id="99" name="Graphic 4">
              <a:extLst>
                <a:ext uri="{FF2B5EF4-FFF2-40B4-BE49-F238E27FC236}">
                  <a16:creationId xmlns:a16="http://schemas.microsoft.com/office/drawing/2014/main" id="{696B8A3C-569A-9903-3F42-DC2C153A203E}"/>
                </a:ext>
              </a:extLst>
            </p:cNvPr>
            <p:cNvSpPr/>
            <p:nvPr/>
          </p:nvSpPr>
          <p:spPr>
            <a:xfrm>
              <a:off x="1596936" y="2942006"/>
              <a:ext cx="87205" cy="86717"/>
            </a:xfrm>
            <a:custGeom>
              <a:avLst/>
              <a:gdLst>
                <a:gd name="connsiteX0" fmla="*/ 86812 w 87205"/>
                <a:gd name="connsiteY0" fmla="*/ 49691 h 86717"/>
                <a:gd name="connsiteX1" fmla="*/ 49750 w 87205"/>
                <a:gd name="connsiteY1" fmla="*/ 534 h 86717"/>
                <a:gd name="connsiteX2" fmla="*/ 548 w 87205"/>
                <a:gd name="connsiteY2" fmla="*/ 37561 h 86717"/>
                <a:gd name="connsiteX3" fmla="*/ 8855 w 87205"/>
                <a:gd name="connsiteY3" fmla="*/ 69481 h 86717"/>
                <a:gd name="connsiteX4" fmla="*/ 37610 w 87205"/>
                <a:gd name="connsiteY4" fmla="*/ 86079 h 86717"/>
                <a:gd name="connsiteX5" fmla="*/ 43999 w 87205"/>
                <a:gd name="connsiteY5" fmla="*/ 86718 h 86717"/>
                <a:gd name="connsiteX6" fmla="*/ 86812 w 87205"/>
                <a:gd name="connsiteY6" fmla="*/ 49691 h 86717"/>
                <a:gd name="connsiteX7" fmla="*/ 86812 w 87205"/>
                <a:gd name="connsiteY7" fmla="*/ 49691 h 86717"/>
                <a:gd name="connsiteX8" fmla="*/ 61891 w 87205"/>
                <a:gd name="connsiteY8" fmla="*/ 68204 h 86717"/>
                <a:gd name="connsiteX9" fmla="*/ 19079 w 87205"/>
                <a:gd name="connsiteY9" fmla="*/ 62459 h 86717"/>
                <a:gd name="connsiteX10" fmla="*/ 24830 w 87205"/>
                <a:gd name="connsiteY10" fmla="*/ 19686 h 86717"/>
                <a:gd name="connsiteX11" fmla="*/ 43361 w 87205"/>
                <a:gd name="connsiteY11" fmla="*/ 13302 h 86717"/>
                <a:gd name="connsiteX12" fmla="*/ 47833 w 87205"/>
                <a:gd name="connsiteY12" fmla="*/ 13302 h 86717"/>
                <a:gd name="connsiteX13" fmla="*/ 74032 w 87205"/>
                <a:gd name="connsiteY13" fmla="*/ 47776 h 86717"/>
                <a:gd name="connsiteX14" fmla="*/ 61891 w 87205"/>
                <a:gd name="connsiteY14" fmla="*/ 68204 h 8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205" h="86717">
                  <a:moveTo>
                    <a:pt x="86812" y="49691"/>
                  </a:moveTo>
                  <a:cubicBezTo>
                    <a:pt x="90007" y="26070"/>
                    <a:pt x="73393" y="4364"/>
                    <a:pt x="49750" y="534"/>
                  </a:cubicBezTo>
                  <a:cubicBezTo>
                    <a:pt x="26108" y="-3296"/>
                    <a:pt x="4382" y="13940"/>
                    <a:pt x="548" y="37561"/>
                  </a:cubicBezTo>
                  <a:cubicBezTo>
                    <a:pt x="-1369" y="49052"/>
                    <a:pt x="1826" y="60543"/>
                    <a:pt x="8855" y="69481"/>
                  </a:cubicBezTo>
                  <a:cubicBezTo>
                    <a:pt x="15884" y="78419"/>
                    <a:pt x="26108" y="84803"/>
                    <a:pt x="37610" y="86079"/>
                  </a:cubicBezTo>
                  <a:cubicBezTo>
                    <a:pt x="39527" y="86079"/>
                    <a:pt x="42082" y="86718"/>
                    <a:pt x="43999" y="86718"/>
                  </a:cubicBezTo>
                  <a:cubicBezTo>
                    <a:pt x="65086" y="86718"/>
                    <a:pt x="83617" y="71396"/>
                    <a:pt x="86812" y="49691"/>
                  </a:cubicBezTo>
                  <a:lnTo>
                    <a:pt x="86812" y="49691"/>
                  </a:lnTo>
                  <a:close/>
                  <a:moveTo>
                    <a:pt x="61891" y="68204"/>
                  </a:moveTo>
                  <a:cubicBezTo>
                    <a:pt x="48472" y="78419"/>
                    <a:pt x="29303" y="75865"/>
                    <a:pt x="19079" y="62459"/>
                  </a:cubicBezTo>
                  <a:cubicBezTo>
                    <a:pt x="8855" y="49052"/>
                    <a:pt x="11411" y="29900"/>
                    <a:pt x="24830" y="19686"/>
                  </a:cubicBezTo>
                  <a:cubicBezTo>
                    <a:pt x="29942" y="15856"/>
                    <a:pt x="36332" y="13302"/>
                    <a:pt x="43361" y="13302"/>
                  </a:cubicBezTo>
                  <a:cubicBezTo>
                    <a:pt x="44638" y="13302"/>
                    <a:pt x="46556" y="13302"/>
                    <a:pt x="47833" y="13302"/>
                  </a:cubicBezTo>
                  <a:cubicBezTo>
                    <a:pt x="64447" y="15856"/>
                    <a:pt x="75949" y="31177"/>
                    <a:pt x="74032" y="47776"/>
                  </a:cubicBezTo>
                  <a:cubicBezTo>
                    <a:pt x="72754" y="56075"/>
                    <a:pt x="68281" y="63097"/>
                    <a:pt x="61891" y="68204"/>
                  </a:cubicBezTo>
                  <a:close/>
                </a:path>
              </a:pathLst>
            </a:custGeom>
            <a:grpFill/>
            <a:ln w="3373" cap="flat">
              <a:noFill/>
              <a:prstDash val="solid"/>
              <a:miter/>
            </a:ln>
          </p:spPr>
          <p:txBody>
            <a:bodyPr rtlCol="0" anchor="ctr"/>
            <a:lstStyle/>
            <a:p>
              <a:endParaRPr lang="en-US"/>
            </a:p>
          </p:txBody>
        </p:sp>
      </p:grpSp>
      <p:pic>
        <p:nvPicPr>
          <p:cNvPr id="100" name="Graphic 99" descr="Upward trend with solid fill">
            <a:extLst>
              <a:ext uri="{FF2B5EF4-FFF2-40B4-BE49-F238E27FC236}">
                <a16:creationId xmlns:a16="http://schemas.microsoft.com/office/drawing/2014/main" id="{9787B531-1854-0D79-3548-8A45CCFC3B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9163" y="1831574"/>
            <a:ext cx="324000" cy="324000"/>
          </a:xfrm>
          <a:prstGeom prst="rect">
            <a:avLst/>
          </a:prstGeom>
        </p:spPr>
      </p:pic>
      <p:sp>
        <p:nvSpPr>
          <p:cNvPr id="101" name="Graphic 4">
            <a:extLst>
              <a:ext uri="{FF2B5EF4-FFF2-40B4-BE49-F238E27FC236}">
                <a16:creationId xmlns:a16="http://schemas.microsoft.com/office/drawing/2014/main" id="{5D05E2AA-4C58-9A00-2309-720FBE339B20}"/>
              </a:ext>
            </a:extLst>
          </p:cNvPr>
          <p:cNvSpPr>
            <a:spLocks noChangeAspect="1"/>
          </p:cNvSpPr>
          <p:nvPr/>
        </p:nvSpPr>
        <p:spPr>
          <a:xfrm>
            <a:off x="435462" y="2704751"/>
            <a:ext cx="288000" cy="28800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1">
              <a:lumMod val="40000"/>
              <a:lumOff val="60000"/>
            </a:schemeClr>
          </a:solidFill>
          <a:ln w="3373" cap="flat">
            <a:noFill/>
            <a:prstDash val="solid"/>
            <a:miter/>
          </a:ln>
        </p:spPr>
        <p:txBody>
          <a:bodyPr rtlCol="0" anchor="ctr"/>
          <a:lstStyle/>
          <a:p>
            <a:endParaRPr lang="en-US"/>
          </a:p>
        </p:txBody>
      </p:sp>
      <p:grpSp>
        <p:nvGrpSpPr>
          <p:cNvPr id="102" name="Graphic 1100">
            <a:extLst>
              <a:ext uri="{FF2B5EF4-FFF2-40B4-BE49-F238E27FC236}">
                <a16:creationId xmlns:a16="http://schemas.microsoft.com/office/drawing/2014/main" id="{0E786FFA-E3B8-992E-93C1-4129C219DB74}"/>
              </a:ext>
            </a:extLst>
          </p:cNvPr>
          <p:cNvGrpSpPr>
            <a:grpSpLocks noChangeAspect="1"/>
          </p:cNvGrpSpPr>
          <p:nvPr/>
        </p:nvGrpSpPr>
        <p:grpSpPr>
          <a:xfrm>
            <a:off x="447688" y="5314360"/>
            <a:ext cx="263402" cy="360000"/>
            <a:chOff x="5810369" y="1478218"/>
            <a:chExt cx="159748" cy="218332"/>
          </a:xfrm>
          <a:solidFill>
            <a:schemeClr val="bg1"/>
          </a:solidFill>
        </p:grpSpPr>
        <p:sp>
          <p:nvSpPr>
            <p:cNvPr id="103" name="Graphic 1100">
              <a:extLst>
                <a:ext uri="{FF2B5EF4-FFF2-40B4-BE49-F238E27FC236}">
                  <a16:creationId xmlns:a16="http://schemas.microsoft.com/office/drawing/2014/main" id="{09076793-C10B-158D-D001-6C443DB86697}"/>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04" name="Graphic 1100">
              <a:extLst>
                <a:ext uri="{FF2B5EF4-FFF2-40B4-BE49-F238E27FC236}">
                  <a16:creationId xmlns:a16="http://schemas.microsoft.com/office/drawing/2014/main" id="{A8F5DF23-E294-ACAE-4FE8-D262E144853F}"/>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05" name="Graphic 1100">
              <a:extLst>
                <a:ext uri="{FF2B5EF4-FFF2-40B4-BE49-F238E27FC236}">
                  <a16:creationId xmlns:a16="http://schemas.microsoft.com/office/drawing/2014/main" id="{A086D357-BBF7-FD13-A165-DCAEF68A1EA0}"/>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06" name="Graphic 1100">
              <a:extLst>
                <a:ext uri="{FF2B5EF4-FFF2-40B4-BE49-F238E27FC236}">
                  <a16:creationId xmlns:a16="http://schemas.microsoft.com/office/drawing/2014/main" id="{EC02DAAA-764C-6AB1-F77F-BB587AFA661C}"/>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grpSp>
        <p:nvGrpSpPr>
          <p:cNvPr id="107" name="Graphic 4">
            <a:extLst>
              <a:ext uri="{FF2B5EF4-FFF2-40B4-BE49-F238E27FC236}">
                <a16:creationId xmlns:a16="http://schemas.microsoft.com/office/drawing/2014/main" id="{4A794E0A-E85F-CCBB-3A6B-1AC36E9C7C8B}"/>
              </a:ext>
            </a:extLst>
          </p:cNvPr>
          <p:cNvGrpSpPr>
            <a:grpSpLocks noChangeAspect="1"/>
          </p:cNvGrpSpPr>
          <p:nvPr/>
        </p:nvGrpSpPr>
        <p:grpSpPr>
          <a:xfrm>
            <a:off x="429520" y="4461101"/>
            <a:ext cx="288000" cy="287734"/>
            <a:chOff x="552729" y="1978558"/>
            <a:chExt cx="191059" cy="190881"/>
          </a:xfrm>
          <a:solidFill>
            <a:schemeClr val="accent1">
              <a:lumMod val="40000"/>
              <a:lumOff val="60000"/>
            </a:schemeClr>
          </a:solidFill>
        </p:grpSpPr>
        <p:sp>
          <p:nvSpPr>
            <p:cNvPr id="108" name="Graphic 4">
              <a:extLst>
                <a:ext uri="{FF2B5EF4-FFF2-40B4-BE49-F238E27FC236}">
                  <a16:creationId xmlns:a16="http://schemas.microsoft.com/office/drawing/2014/main" id="{51121B78-4933-B711-4A35-76ECEE402247}"/>
                </a:ext>
              </a:extLst>
            </p:cNvPr>
            <p:cNvSpPr/>
            <p:nvPr/>
          </p:nvSpPr>
          <p:spPr>
            <a:xfrm>
              <a:off x="552729" y="1978558"/>
              <a:ext cx="65177" cy="64478"/>
            </a:xfrm>
            <a:custGeom>
              <a:avLst/>
              <a:gdLst>
                <a:gd name="connsiteX0" fmla="*/ 6390 w 65177"/>
                <a:gd name="connsiteY0" fmla="*/ 64478 h 64478"/>
                <a:gd name="connsiteX1" fmla="*/ 12780 w 65177"/>
                <a:gd name="connsiteY1" fmla="*/ 58094 h 64478"/>
                <a:gd name="connsiteX2" fmla="*/ 12780 w 65177"/>
                <a:gd name="connsiteY2" fmla="*/ 12768 h 64478"/>
                <a:gd name="connsiteX3" fmla="*/ 58787 w 65177"/>
                <a:gd name="connsiteY3" fmla="*/ 12768 h 64478"/>
                <a:gd name="connsiteX4" fmla="*/ 65177 w 65177"/>
                <a:gd name="connsiteY4" fmla="*/ 6384 h 64478"/>
                <a:gd name="connsiteX5" fmla="*/ 58787 w 65177"/>
                <a:gd name="connsiteY5" fmla="*/ 0 h 64478"/>
                <a:gd name="connsiteX6" fmla="*/ 6390 w 65177"/>
                <a:gd name="connsiteY6" fmla="*/ 0 h 64478"/>
                <a:gd name="connsiteX7" fmla="*/ 0 w 65177"/>
                <a:gd name="connsiteY7" fmla="*/ 6384 h 64478"/>
                <a:gd name="connsiteX8" fmla="*/ 0 w 65177"/>
                <a:gd name="connsiteY8" fmla="*/ 58094 h 64478"/>
                <a:gd name="connsiteX9" fmla="*/ 6390 w 65177"/>
                <a:gd name="connsiteY9" fmla="*/ 64478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6390" y="64478"/>
                  </a:moveTo>
                  <a:cubicBezTo>
                    <a:pt x="10224" y="64478"/>
                    <a:pt x="12780" y="61925"/>
                    <a:pt x="12780" y="58094"/>
                  </a:cubicBezTo>
                  <a:lnTo>
                    <a:pt x="12780" y="12768"/>
                  </a:lnTo>
                  <a:lnTo>
                    <a:pt x="58787" y="12768"/>
                  </a:lnTo>
                  <a:cubicBezTo>
                    <a:pt x="62621" y="12768"/>
                    <a:pt x="65177" y="10214"/>
                    <a:pt x="65177" y="6384"/>
                  </a:cubicBezTo>
                  <a:cubicBezTo>
                    <a:pt x="65177" y="2554"/>
                    <a:pt x="62621" y="0"/>
                    <a:pt x="58787" y="0"/>
                  </a:cubicBezTo>
                  <a:lnTo>
                    <a:pt x="6390" y="0"/>
                  </a:lnTo>
                  <a:cubicBezTo>
                    <a:pt x="2556" y="0"/>
                    <a:pt x="0" y="2554"/>
                    <a:pt x="0" y="6384"/>
                  </a:cubicBezTo>
                  <a:lnTo>
                    <a:pt x="0" y="58094"/>
                  </a:lnTo>
                  <a:cubicBezTo>
                    <a:pt x="0" y="61286"/>
                    <a:pt x="3195" y="64478"/>
                    <a:pt x="6390" y="64478"/>
                  </a:cubicBezTo>
                  <a:close/>
                </a:path>
              </a:pathLst>
            </a:custGeom>
            <a:grpFill/>
            <a:ln w="3373" cap="flat">
              <a:noFill/>
              <a:prstDash val="solid"/>
              <a:miter/>
            </a:ln>
          </p:spPr>
          <p:txBody>
            <a:bodyPr rtlCol="0" anchor="ctr"/>
            <a:lstStyle/>
            <a:p>
              <a:endParaRPr lang="en-US"/>
            </a:p>
          </p:txBody>
        </p:sp>
        <p:sp>
          <p:nvSpPr>
            <p:cNvPr id="109" name="Graphic 4">
              <a:extLst>
                <a:ext uri="{FF2B5EF4-FFF2-40B4-BE49-F238E27FC236}">
                  <a16:creationId xmlns:a16="http://schemas.microsoft.com/office/drawing/2014/main" id="{BB5F625E-4848-59B1-7CD4-701CF27E912C}"/>
                </a:ext>
              </a:extLst>
            </p:cNvPr>
            <p:cNvSpPr/>
            <p:nvPr/>
          </p:nvSpPr>
          <p:spPr>
            <a:xfrm>
              <a:off x="552729" y="2104961"/>
              <a:ext cx="65177" cy="64478"/>
            </a:xfrm>
            <a:custGeom>
              <a:avLst/>
              <a:gdLst>
                <a:gd name="connsiteX0" fmla="*/ 58787 w 65177"/>
                <a:gd name="connsiteY0" fmla="*/ 51710 h 64478"/>
                <a:gd name="connsiteX1" fmla="*/ 12780 w 65177"/>
                <a:gd name="connsiteY1" fmla="*/ 51710 h 64478"/>
                <a:gd name="connsiteX2" fmla="*/ 12780 w 65177"/>
                <a:gd name="connsiteY2" fmla="*/ 6384 h 64478"/>
                <a:gd name="connsiteX3" fmla="*/ 6390 w 65177"/>
                <a:gd name="connsiteY3" fmla="*/ 0 h 64478"/>
                <a:gd name="connsiteX4" fmla="*/ 0 w 65177"/>
                <a:gd name="connsiteY4" fmla="*/ 6384 h 64478"/>
                <a:gd name="connsiteX5" fmla="*/ 0 w 65177"/>
                <a:gd name="connsiteY5" fmla="*/ 58094 h 64478"/>
                <a:gd name="connsiteX6" fmla="*/ 6390 w 65177"/>
                <a:gd name="connsiteY6" fmla="*/ 64478 h 64478"/>
                <a:gd name="connsiteX7" fmla="*/ 58787 w 65177"/>
                <a:gd name="connsiteY7" fmla="*/ 64478 h 64478"/>
                <a:gd name="connsiteX8" fmla="*/ 65177 w 65177"/>
                <a:gd name="connsiteY8" fmla="*/ 58094 h 64478"/>
                <a:gd name="connsiteX9" fmla="*/ 58787 w 65177"/>
                <a:gd name="connsiteY9" fmla="*/ 5171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4478">
                  <a:moveTo>
                    <a:pt x="58787" y="51710"/>
                  </a:moveTo>
                  <a:lnTo>
                    <a:pt x="12780" y="51710"/>
                  </a:lnTo>
                  <a:lnTo>
                    <a:pt x="12780" y="6384"/>
                  </a:lnTo>
                  <a:cubicBezTo>
                    <a:pt x="12780" y="2554"/>
                    <a:pt x="10224" y="0"/>
                    <a:pt x="6390" y="0"/>
                  </a:cubicBezTo>
                  <a:cubicBezTo>
                    <a:pt x="2556" y="0"/>
                    <a:pt x="0" y="2554"/>
                    <a:pt x="0" y="6384"/>
                  </a:cubicBezTo>
                  <a:lnTo>
                    <a:pt x="0" y="58094"/>
                  </a:lnTo>
                  <a:cubicBezTo>
                    <a:pt x="0" y="61925"/>
                    <a:pt x="2556" y="64478"/>
                    <a:pt x="6390" y="64478"/>
                  </a:cubicBezTo>
                  <a:lnTo>
                    <a:pt x="58787" y="64478"/>
                  </a:lnTo>
                  <a:cubicBezTo>
                    <a:pt x="62621" y="64478"/>
                    <a:pt x="65177" y="61925"/>
                    <a:pt x="65177" y="58094"/>
                  </a:cubicBezTo>
                  <a:cubicBezTo>
                    <a:pt x="65177" y="54264"/>
                    <a:pt x="62621" y="51710"/>
                    <a:pt x="58787" y="51710"/>
                  </a:cubicBezTo>
                  <a:close/>
                </a:path>
              </a:pathLst>
            </a:custGeom>
            <a:grpFill/>
            <a:ln w="3373" cap="flat">
              <a:noFill/>
              <a:prstDash val="solid"/>
              <a:miter/>
            </a:ln>
          </p:spPr>
          <p:txBody>
            <a:bodyPr rtlCol="0" anchor="ctr"/>
            <a:lstStyle/>
            <a:p>
              <a:endParaRPr lang="en-US"/>
            </a:p>
          </p:txBody>
        </p:sp>
        <p:sp>
          <p:nvSpPr>
            <p:cNvPr id="110" name="Graphic 4">
              <a:extLst>
                <a:ext uri="{FF2B5EF4-FFF2-40B4-BE49-F238E27FC236}">
                  <a16:creationId xmlns:a16="http://schemas.microsoft.com/office/drawing/2014/main" id="{361F921A-9FBB-6941-FDBD-7D25154BBC93}"/>
                </a:ext>
              </a:extLst>
            </p:cNvPr>
            <p:cNvSpPr/>
            <p:nvPr/>
          </p:nvSpPr>
          <p:spPr>
            <a:xfrm>
              <a:off x="679250" y="2104961"/>
              <a:ext cx="64538" cy="64478"/>
            </a:xfrm>
            <a:custGeom>
              <a:avLst/>
              <a:gdLst>
                <a:gd name="connsiteX0" fmla="*/ 58148 w 64538"/>
                <a:gd name="connsiteY0" fmla="*/ 0 h 64478"/>
                <a:gd name="connsiteX1" fmla="*/ 51758 w 64538"/>
                <a:gd name="connsiteY1" fmla="*/ 6384 h 64478"/>
                <a:gd name="connsiteX2" fmla="*/ 51758 w 64538"/>
                <a:gd name="connsiteY2" fmla="*/ 51710 h 64478"/>
                <a:gd name="connsiteX3" fmla="*/ 6390 w 64538"/>
                <a:gd name="connsiteY3" fmla="*/ 51710 h 64478"/>
                <a:gd name="connsiteX4" fmla="*/ 0 w 64538"/>
                <a:gd name="connsiteY4" fmla="*/ 58094 h 64478"/>
                <a:gd name="connsiteX5" fmla="*/ 6390 w 64538"/>
                <a:gd name="connsiteY5" fmla="*/ 64478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cubicBezTo>
                    <a:pt x="54314" y="0"/>
                    <a:pt x="51758" y="2554"/>
                    <a:pt x="51758" y="6384"/>
                  </a:cubicBezTo>
                  <a:lnTo>
                    <a:pt x="51758" y="51710"/>
                  </a:lnTo>
                  <a:lnTo>
                    <a:pt x="6390" y="51710"/>
                  </a:lnTo>
                  <a:cubicBezTo>
                    <a:pt x="2556" y="51710"/>
                    <a:pt x="0" y="54264"/>
                    <a:pt x="0" y="58094"/>
                  </a:cubicBezTo>
                  <a:cubicBezTo>
                    <a:pt x="0" y="61925"/>
                    <a:pt x="2556" y="64478"/>
                    <a:pt x="6390" y="64478"/>
                  </a:cubicBezTo>
                  <a:lnTo>
                    <a:pt x="58148" y="64478"/>
                  </a:ln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11" name="Graphic 4">
              <a:extLst>
                <a:ext uri="{FF2B5EF4-FFF2-40B4-BE49-F238E27FC236}">
                  <a16:creationId xmlns:a16="http://schemas.microsoft.com/office/drawing/2014/main" id="{4C89A86B-EA31-1664-7024-14F98A51BC42}"/>
                </a:ext>
              </a:extLst>
            </p:cNvPr>
            <p:cNvSpPr/>
            <p:nvPr/>
          </p:nvSpPr>
          <p:spPr>
            <a:xfrm>
              <a:off x="679250" y="1978558"/>
              <a:ext cx="64538" cy="64478"/>
            </a:xfrm>
            <a:custGeom>
              <a:avLst/>
              <a:gdLst>
                <a:gd name="connsiteX0" fmla="*/ 58148 w 64538"/>
                <a:gd name="connsiteY0" fmla="*/ 0 h 64478"/>
                <a:gd name="connsiteX1" fmla="*/ 6390 w 64538"/>
                <a:gd name="connsiteY1" fmla="*/ 0 h 64478"/>
                <a:gd name="connsiteX2" fmla="*/ 0 w 64538"/>
                <a:gd name="connsiteY2" fmla="*/ 6384 h 64478"/>
                <a:gd name="connsiteX3" fmla="*/ 6390 w 64538"/>
                <a:gd name="connsiteY3" fmla="*/ 12768 h 64478"/>
                <a:gd name="connsiteX4" fmla="*/ 51758 w 64538"/>
                <a:gd name="connsiteY4" fmla="*/ 12768 h 64478"/>
                <a:gd name="connsiteX5" fmla="*/ 51758 w 64538"/>
                <a:gd name="connsiteY5" fmla="*/ 58094 h 64478"/>
                <a:gd name="connsiteX6" fmla="*/ 58148 w 64538"/>
                <a:gd name="connsiteY6" fmla="*/ 64478 h 64478"/>
                <a:gd name="connsiteX7" fmla="*/ 64538 w 64538"/>
                <a:gd name="connsiteY7" fmla="*/ 58094 h 64478"/>
                <a:gd name="connsiteX8" fmla="*/ 64538 w 64538"/>
                <a:gd name="connsiteY8" fmla="*/ 6384 h 64478"/>
                <a:gd name="connsiteX9" fmla="*/ 58148 w 64538"/>
                <a:gd name="connsiteY9"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38" h="64478">
                  <a:moveTo>
                    <a:pt x="58148" y="0"/>
                  </a:moveTo>
                  <a:lnTo>
                    <a:pt x="6390" y="0"/>
                  </a:lnTo>
                  <a:cubicBezTo>
                    <a:pt x="2556" y="0"/>
                    <a:pt x="0" y="2554"/>
                    <a:pt x="0" y="6384"/>
                  </a:cubicBezTo>
                  <a:cubicBezTo>
                    <a:pt x="0" y="10214"/>
                    <a:pt x="2556" y="12768"/>
                    <a:pt x="6390" y="12768"/>
                  </a:cubicBezTo>
                  <a:lnTo>
                    <a:pt x="51758" y="12768"/>
                  </a:lnTo>
                  <a:lnTo>
                    <a:pt x="51758" y="58094"/>
                  </a:lnTo>
                  <a:cubicBezTo>
                    <a:pt x="51758" y="61925"/>
                    <a:pt x="54314" y="64478"/>
                    <a:pt x="58148" y="64478"/>
                  </a:cubicBezTo>
                  <a:cubicBezTo>
                    <a:pt x="61982" y="64478"/>
                    <a:pt x="64538" y="61925"/>
                    <a:pt x="64538" y="58094"/>
                  </a:cubicBezTo>
                  <a:lnTo>
                    <a:pt x="64538" y="6384"/>
                  </a:lnTo>
                  <a:cubicBezTo>
                    <a:pt x="64538" y="2554"/>
                    <a:pt x="61982" y="0"/>
                    <a:pt x="58148" y="0"/>
                  </a:cubicBezTo>
                  <a:close/>
                </a:path>
              </a:pathLst>
            </a:custGeom>
            <a:grpFill/>
            <a:ln w="3373" cap="flat">
              <a:noFill/>
              <a:prstDash val="solid"/>
              <a:miter/>
            </a:ln>
          </p:spPr>
          <p:txBody>
            <a:bodyPr rtlCol="0" anchor="ctr"/>
            <a:lstStyle/>
            <a:p>
              <a:endParaRPr lang="en-US"/>
            </a:p>
          </p:txBody>
        </p:sp>
        <p:sp>
          <p:nvSpPr>
            <p:cNvPr id="112" name="Graphic 4">
              <a:extLst>
                <a:ext uri="{FF2B5EF4-FFF2-40B4-BE49-F238E27FC236}">
                  <a16:creationId xmlns:a16="http://schemas.microsoft.com/office/drawing/2014/main" id="{F7A54DB7-54B6-F341-EA44-F96B4B8EDFB1}"/>
                </a:ext>
              </a:extLst>
            </p:cNvPr>
            <p:cNvSpPr/>
            <p:nvPr/>
          </p:nvSpPr>
          <p:spPr>
            <a:xfrm>
              <a:off x="590430" y="2014947"/>
              <a:ext cx="117574" cy="118103"/>
            </a:xfrm>
            <a:custGeom>
              <a:avLst/>
              <a:gdLst>
                <a:gd name="connsiteX0" fmla="*/ 117575 w 117574"/>
                <a:gd name="connsiteY0" fmla="*/ 111720 h 118103"/>
                <a:gd name="connsiteX1" fmla="*/ 117575 w 117574"/>
                <a:gd name="connsiteY1" fmla="*/ 6384 h 118103"/>
                <a:gd name="connsiteX2" fmla="*/ 111185 w 117574"/>
                <a:gd name="connsiteY2" fmla="*/ 0 h 118103"/>
                <a:gd name="connsiteX3" fmla="*/ 6390 w 117574"/>
                <a:gd name="connsiteY3" fmla="*/ 0 h 118103"/>
                <a:gd name="connsiteX4" fmla="*/ 0 w 117574"/>
                <a:gd name="connsiteY4" fmla="*/ 6384 h 118103"/>
                <a:gd name="connsiteX5" fmla="*/ 0 w 117574"/>
                <a:gd name="connsiteY5" fmla="*/ 111720 h 118103"/>
                <a:gd name="connsiteX6" fmla="*/ 6390 w 117574"/>
                <a:gd name="connsiteY6" fmla="*/ 118104 h 118103"/>
                <a:gd name="connsiteX7" fmla="*/ 111824 w 117574"/>
                <a:gd name="connsiteY7" fmla="*/ 118104 h 118103"/>
                <a:gd name="connsiteX8" fmla="*/ 117575 w 117574"/>
                <a:gd name="connsiteY8" fmla="*/ 111720 h 118103"/>
                <a:gd name="connsiteX9" fmla="*/ 104795 w 117574"/>
                <a:gd name="connsiteY9" fmla="*/ 105336 h 118103"/>
                <a:gd name="connsiteX10" fmla="*/ 12780 w 117574"/>
                <a:gd name="connsiteY10" fmla="*/ 105336 h 118103"/>
                <a:gd name="connsiteX11" fmla="*/ 12780 w 117574"/>
                <a:gd name="connsiteY11" fmla="*/ 12768 h 118103"/>
                <a:gd name="connsiteX12" fmla="*/ 105434 w 117574"/>
                <a:gd name="connsiteY12" fmla="*/ 12768 h 118103"/>
                <a:gd name="connsiteX13" fmla="*/ 105434 w 117574"/>
                <a:gd name="connsiteY13" fmla="*/ 105336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574" h="118103">
                  <a:moveTo>
                    <a:pt x="117575" y="111720"/>
                  </a:moveTo>
                  <a:lnTo>
                    <a:pt x="117575" y="6384"/>
                  </a:lnTo>
                  <a:cubicBezTo>
                    <a:pt x="117575" y="2554"/>
                    <a:pt x="115019" y="0"/>
                    <a:pt x="111185" y="0"/>
                  </a:cubicBezTo>
                  <a:lnTo>
                    <a:pt x="6390" y="0"/>
                  </a:lnTo>
                  <a:cubicBezTo>
                    <a:pt x="2556" y="0"/>
                    <a:pt x="0" y="2554"/>
                    <a:pt x="0" y="6384"/>
                  </a:cubicBezTo>
                  <a:lnTo>
                    <a:pt x="0" y="111720"/>
                  </a:lnTo>
                  <a:cubicBezTo>
                    <a:pt x="0" y="115550"/>
                    <a:pt x="2556" y="118104"/>
                    <a:pt x="6390" y="118104"/>
                  </a:cubicBezTo>
                  <a:lnTo>
                    <a:pt x="111824" y="118104"/>
                  </a:lnTo>
                  <a:cubicBezTo>
                    <a:pt x="115019" y="118104"/>
                    <a:pt x="117575" y="115550"/>
                    <a:pt x="117575" y="111720"/>
                  </a:cubicBezTo>
                  <a:close/>
                  <a:moveTo>
                    <a:pt x="104795" y="105336"/>
                  </a:moveTo>
                  <a:lnTo>
                    <a:pt x="12780" y="105336"/>
                  </a:lnTo>
                  <a:lnTo>
                    <a:pt x="12780" y="12768"/>
                  </a:lnTo>
                  <a:lnTo>
                    <a:pt x="105434" y="12768"/>
                  </a:lnTo>
                  <a:lnTo>
                    <a:pt x="105434" y="105336"/>
                  </a:lnTo>
                  <a:close/>
                </a:path>
              </a:pathLst>
            </a:custGeom>
            <a:grpFill/>
            <a:ln w="3373" cap="flat">
              <a:noFill/>
              <a:prstDash val="solid"/>
              <a:miter/>
            </a:ln>
          </p:spPr>
          <p:txBody>
            <a:bodyPr rtlCol="0" anchor="ctr"/>
            <a:lstStyle/>
            <a:p>
              <a:endParaRPr lang="en-US"/>
            </a:p>
          </p:txBody>
        </p:sp>
      </p:grpSp>
      <p:grpSp>
        <p:nvGrpSpPr>
          <p:cNvPr id="113" name="Graphic 1100">
            <a:extLst>
              <a:ext uri="{FF2B5EF4-FFF2-40B4-BE49-F238E27FC236}">
                <a16:creationId xmlns:a16="http://schemas.microsoft.com/office/drawing/2014/main" id="{78DF23C2-58F1-25E8-27DE-0B5A92AD788C}"/>
              </a:ext>
            </a:extLst>
          </p:cNvPr>
          <p:cNvGrpSpPr>
            <a:grpSpLocks noChangeAspect="1"/>
          </p:cNvGrpSpPr>
          <p:nvPr/>
        </p:nvGrpSpPr>
        <p:grpSpPr>
          <a:xfrm>
            <a:off x="468159" y="5425075"/>
            <a:ext cx="210722" cy="288000"/>
            <a:chOff x="5810369" y="1478218"/>
            <a:chExt cx="159748" cy="218332"/>
          </a:xfrm>
          <a:solidFill>
            <a:schemeClr val="accent1">
              <a:lumMod val="40000"/>
              <a:lumOff val="60000"/>
            </a:schemeClr>
          </a:solidFill>
        </p:grpSpPr>
        <p:sp>
          <p:nvSpPr>
            <p:cNvPr id="114" name="Graphic 1100">
              <a:extLst>
                <a:ext uri="{FF2B5EF4-FFF2-40B4-BE49-F238E27FC236}">
                  <a16:creationId xmlns:a16="http://schemas.microsoft.com/office/drawing/2014/main" id="{52CA9C99-02B0-13C2-78AE-A53D2B17A737}"/>
                </a:ext>
              </a:extLst>
            </p:cNvPr>
            <p:cNvSpPr/>
            <p:nvPr/>
          </p:nvSpPr>
          <p:spPr>
            <a:xfrm>
              <a:off x="5810369" y="1478218"/>
              <a:ext cx="159748" cy="218332"/>
            </a:xfrm>
            <a:custGeom>
              <a:avLst/>
              <a:gdLst>
                <a:gd name="connsiteX0" fmla="*/ 153998 w 159748"/>
                <a:gd name="connsiteY0" fmla="*/ 73416 h 218332"/>
                <a:gd name="connsiteX1" fmla="*/ 145052 w 159748"/>
                <a:gd name="connsiteY1" fmla="*/ 73416 h 218332"/>
                <a:gd name="connsiteX2" fmla="*/ 145052 w 159748"/>
                <a:gd name="connsiteY2" fmla="*/ 21067 h 218332"/>
                <a:gd name="connsiteX3" fmla="*/ 138662 w 159748"/>
                <a:gd name="connsiteY3" fmla="*/ 14683 h 218332"/>
                <a:gd name="connsiteX4" fmla="*/ 115658 w 159748"/>
                <a:gd name="connsiteY4" fmla="*/ 14683 h 218332"/>
                <a:gd name="connsiteX5" fmla="*/ 115658 w 159748"/>
                <a:gd name="connsiteY5" fmla="*/ 6384 h 218332"/>
                <a:gd name="connsiteX6" fmla="*/ 109268 w 159748"/>
                <a:gd name="connsiteY6" fmla="*/ 0 h 218332"/>
                <a:gd name="connsiteX7" fmla="*/ 35784 w 159748"/>
                <a:gd name="connsiteY7" fmla="*/ 0 h 218332"/>
                <a:gd name="connsiteX8" fmla="*/ 29394 w 159748"/>
                <a:gd name="connsiteY8" fmla="*/ 6384 h 218332"/>
                <a:gd name="connsiteX9" fmla="*/ 29394 w 159748"/>
                <a:gd name="connsiteY9" fmla="*/ 14683 h 218332"/>
                <a:gd name="connsiteX10" fmla="*/ 6390 w 159748"/>
                <a:gd name="connsiteY10" fmla="*/ 14683 h 218332"/>
                <a:gd name="connsiteX11" fmla="*/ 0 w 159748"/>
                <a:gd name="connsiteY11" fmla="*/ 21067 h 218332"/>
                <a:gd name="connsiteX12" fmla="*/ 0 w 159748"/>
                <a:gd name="connsiteY12" fmla="*/ 211948 h 218332"/>
                <a:gd name="connsiteX13" fmla="*/ 6390 w 159748"/>
                <a:gd name="connsiteY13" fmla="*/ 218332 h 218332"/>
                <a:gd name="connsiteX14" fmla="*/ 153358 w 159748"/>
                <a:gd name="connsiteY14" fmla="*/ 218332 h 218332"/>
                <a:gd name="connsiteX15" fmla="*/ 159748 w 159748"/>
                <a:gd name="connsiteY15" fmla="*/ 211948 h 218332"/>
                <a:gd name="connsiteX16" fmla="*/ 159748 w 159748"/>
                <a:gd name="connsiteY16" fmla="*/ 79800 h 218332"/>
                <a:gd name="connsiteX17" fmla="*/ 153998 w 159748"/>
                <a:gd name="connsiteY17" fmla="*/ 73416 h 218332"/>
                <a:gd name="connsiteX18" fmla="*/ 42174 w 159748"/>
                <a:gd name="connsiteY18" fmla="*/ 12768 h 218332"/>
                <a:gd name="connsiteX19" fmla="*/ 102878 w 159748"/>
                <a:gd name="connsiteY19" fmla="*/ 12768 h 218332"/>
                <a:gd name="connsiteX20" fmla="*/ 102878 w 159748"/>
                <a:gd name="connsiteY20" fmla="*/ 29366 h 218332"/>
                <a:gd name="connsiteX21" fmla="*/ 42174 w 159748"/>
                <a:gd name="connsiteY21" fmla="*/ 29366 h 218332"/>
                <a:gd name="connsiteX22" fmla="*/ 42174 w 159748"/>
                <a:gd name="connsiteY22" fmla="*/ 12768 h 218332"/>
                <a:gd name="connsiteX23" fmla="*/ 12780 w 159748"/>
                <a:gd name="connsiteY23" fmla="*/ 27451 h 218332"/>
                <a:gd name="connsiteX24" fmla="*/ 29394 w 159748"/>
                <a:gd name="connsiteY24" fmla="*/ 27451 h 218332"/>
                <a:gd name="connsiteX25" fmla="*/ 29394 w 159748"/>
                <a:gd name="connsiteY25" fmla="*/ 35750 h 218332"/>
                <a:gd name="connsiteX26" fmla="*/ 35784 w 159748"/>
                <a:gd name="connsiteY26" fmla="*/ 42134 h 218332"/>
                <a:gd name="connsiteX27" fmla="*/ 109268 w 159748"/>
                <a:gd name="connsiteY27" fmla="*/ 42134 h 218332"/>
                <a:gd name="connsiteX28" fmla="*/ 115658 w 159748"/>
                <a:gd name="connsiteY28" fmla="*/ 35750 h 218332"/>
                <a:gd name="connsiteX29" fmla="*/ 115658 w 159748"/>
                <a:gd name="connsiteY29" fmla="*/ 27451 h 218332"/>
                <a:gd name="connsiteX30" fmla="*/ 132272 w 159748"/>
                <a:gd name="connsiteY30" fmla="*/ 27451 h 218332"/>
                <a:gd name="connsiteX31" fmla="*/ 132272 w 159748"/>
                <a:gd name="connsiteY31" fmla="*/ 73416 h 218332"/>
                <a:gd name="connsiteX32" fmla="*/ 50481 w 159748"/>
                <a:gd name="connsiteY32" fmla="*/ 73416 h 218332"/>
                <a:gd name="connsiteX33" fmla="*/ 44091 w 159748"/>
                <a:gd name="connsiteY33" fmla="*/ 79800 h 218332"/>
                <a:gd name="connsiteX34" fmla="*/ 44091 w 159748"/>
                <a:gd name="connsiteY34" fmla="*/ 205564 h 218332"/>
                <a:gd name="connsiteX35" fmla="*/ 12780 w 159748"/>
                <a:gd name="connsiteY35" fmla="*/ 205564 h 218332"/>
                <a:gd name="connsiteX36" fmla="*/ 12780 w 159748"/>
                <a:gd name="connsiteY36" fmla="*/ 27451 h 218332"/>
                <a:gd name="connsiteX37" fmla="*/ 146969 w 159748"/>
                <a:gd name="connsiteY37" fmla="*/ 205564 h 218332"/>
                <a:gd name="connsiteX38" fmla="*/ 56871 w 159748"/>
                <a:gd name="connsiteY38" fmla="*/ 205564 h 218332"/>
                <a:gd name="connsiteX39" fmla="*/ 56871 w 159748"/>
                <a:gd name="connsiteY39" fmla="*/ 86184 h 218332"/>
                <a:gd name="connsiteX40" fmla="*/ 146969 w 159748"/>
                <a:gd name="connsiteY40" fmla="*/ 86184 h 218332"/>
                <a:gd name="connsiteX41" fmla="*/ 146969 w 159748"/>
                <a:gd name="connsiteY41" fmla="*/ 205564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9748" h="218332">
                  <a:moveTo>
                    <a:pt x="153998" y="73416"/>
                  </a:moveTo>
                  <a:lnTo>
                    <a:pt x="145052" y="73416"/>
                  </a:lnTo>
                  <a:lnTo>
                    <a:pt x="145052" y="21067"/>
                  </a:lnTo>
                  <a:cubicBezTo>
                    <a:pt x="145052" y="17237"/>
                    <a:pt x="142496" y="14683"/>
                    <a:pt x="138662" y="14683"/>
                  </a:cubicBezTo>
                  <a:lnTo>
                    <a:pt x="115658" y="14683"/>
                  </a:lnTo>
                  <a:lnTo>
                    <a:pt x="115658" y="6384"/>
                  </a:lnTo>
                  <a:cubicBezTo>
                    <a:pt x="115658" y="2554"/>
                    <a:pt x="113102" y="0"/>
                    <a:pt x="109268" y="0"/>
                  </a:cubicBezTo>
                  <a:lnTo>
                    <a:pt x="35784" y="0"/>
                  </a:lnTo>
                  <a:cubicBezTo>
                    <a:pt x="31950" y="0"/>
                    <a:pt x="29394" y="2554"/>
                    <a:pt x="29394" y="6384"/>
                  </a:cubicBezTo>
                  <a:lnTo>
                    <a:pt x="29394" y="14683"/>
                  </a:lnTo>
                  <a:lnTo>
                    <a:pt x="6390" y="14683"/>
                  </a:lnTo>
                  <a:cubicBezTo>
                    <a:pt x="2556" y="14683"/>
                    <a:pt x="0" y="17237"/>
                    <a:pt x="0" y="21067"/>
                  </a:cubicBezTo>
                  <a:lnTo>
                    <a:pt x="0" y="211948"/>
                  </a:lnTo>
                  <a:cubicBezTo>
                    <a:pt x="0" y="215779"/>
                    <a:pt x="2556" y="218332"/>
                    <a:pt x="6390" y="218332"/>
                  </a:cubicBezTo>
                  <a:lnTo>
                    <a:pt x="153358" y="218332"/>
                  </a:lnTo>
                  <a:cubicBezTo>
                    <a:pt x="157193" y="218332"/>
                    <a:pt x="159748" y="215779"/>
                    <a:pt x="159748" y="211948"/>
                  </a:cubicBezTo>
                  <a:lnTo>
                    <a:pt x="159748" y="79800"/>
                  </a:lnTo>
                  <a:cubicBezTo>
                    <a:pt x="159748" y="76608"/>
                    <a:pt x="157193" y="73416"/>
                    <a:pt x="153998" y="73416"/>
                  </a:cubicBezTo>
                  <a:close/>
                  <a:moveTo>
                    <a:pt x="42174" y="12768"/>
                  </a:moveTo>
                  <a:lnTo>
                    <a:pt x="102878" y="12768"/>
                  </a:lnTo>
                  <a:lnTo>
                    <a:pt x="102878" y="29366"/>
                  </a:lnTo>
                  <a:lnTo>
                    <a:pt x="42174" y="29366"/>
                  </a:lnTo>
                  <a:lnTo>
                    <a:pt x="42174" y="12768"/>
                  </a:lnTo>
                  <a:close/>
                  <a:moveTo>
                    <a:pt x="12780" y="27451"/>
                  </a:moveTo>
                  <a:lnTo>
                    <a:pt x="29394" y="27451"/>
                  </a:lnTo>
                  <a:lnTo>
                    <a:pt x="29394" y="35750"/>
                  </a:lnTo>
                  <a:cubicBezTo>
                    <a:pt x="29394" y="39581"/>
                    <a:pt x="31950" y="42134"/>
                    <a:pt x="35784" y="42134"/>
                  </a:cubicBezTo>
                  <a:lnTo>
                    <a:pt x="109268" y="42134"/>
                  </a:lnTo>
                  <a:cubicBezTo>
                    <a:pt x="113102" y="42134"/>
                    <a:pt x="115658" y="39581"/>
                    <a:pt x="115658" y="35750"/>
                  </a:cubicBezTo>
                  <a:lnTo>
                    <a:pt x="115658" y="27451"/>
                  </a:lnTo>
                  <a:lnTo>
                    <a:pt x="132272" y="27451"/>
                  </a:lnTo>
                  <a:lnTo>
                    <a:pt x="132272" y="73416"/>
                  </a:lnTo>
                  <a:lnTo>
                    <a:pt x="50481" y="73416"/>
                  </a:lnTo>
                  <a:cubicBezTo>
                    <a:pt x="46646" y="73416"/>
                    <a:pt x="44091" y="75969"/>
                    <a:pt x="44091" y="79800"/>
                  </a:cubicBezTo>
                  <a:lnTo>
                    <a:pt x="44091" y="205564"/>
                  </a:lnTo>
                  <a:lnTo>
                    <a:pt x="12780" y="205564"/>
                  </a:lnTo>
                  <a:lnTo>
                    <a:pt x="12780" y="27451"/>
                  </a:lnTo>
                  <a:close/>
                  <a:moveTo>
                    <a:pt x="146969" y="205564"/>
                  </a:moveTo>
                  <a:lnTo>
                    <a:pt x="56871" y="205564"/>
                  </a:lnTo>
                  <a:lnTo>
                    <a:pt x="56871" y="86184"/>
                  </a:lnTo>
                  <a:lnTo>
                    <a:pt x="146969" y="86184"/>
                  </a:lnTo>
                  <a:lnTo>
                    <a:pt x="146969" y="205564"/>
                  </a:lnTo>
                  <a:close/>
                </a:path>
              </a:pathLst>
            </a:custGeom>
            <a:grpFill/>
            <a:ln w="3373" cap="flat">
              <a:noFill/>
              <a:prstDash val="solid"/>
              <a:miter/>
            </a:ln>
          </p:spPr>
          <p:txBody>
            <a:bodyPr rtlCol="0" anchor="ctr"/>
            <a:lstStyle/>
            <a:p>
              <a:endParaRPr lang="en-US"/>
            </a:p>
          </p:txBody>
        </p:sp>
        <p:sp>
          <p:nvSpPr>
            <p:cNvPr id="115" name="Graphic 1100">
              <a:extLst>
                <a:ext uri="{FF2B5EF4-FFF2-40B4-BE49-F238E27FC236}">
                  <a16:creationId xmlns:a16="http://schemas.microsoft.com/office/drawing/2014/main" id="{41137517-9F20-276B-A4A8-D2DAEE09D8B8}"/>
                </a:ext>
              </a:extLst>
            </p:cNvPr>
            <p:cNvSpPr/>
            <p:nvPr/>
          </p:nvSpPr>
          <p:spPr>
            <a:xfrm>
              <a:off x="5884493" y="1588022"/>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16" name="Graphic 1100">
              <a:extLst>
                <a:ext uri="{FF2B5EF4-FFF2-40B4-BE49-F238E27FC236}">
                  <a16:creationId xmlns:a16="http://schemas.microsoft.com/office/drawing/2014/main" id="{A2B3EFA0-2272-F3F4-1F48-1142ADCA08CD}"/>
                </a:ext>
              </a:extLst>
            </p:cNvPr>
            <p:cNvSpPr/>
            <p:nvPr/>
          </p:nvSpPr>
          <p:spPr>
            <a:xfrm>
              <a:off x="5884493" y="1617388"/>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sp>
          <p:nvSpPr>
            <p:cNvPr id="117" name="Graphic 1100">
              <a:extLst>
                <a:ext uri="{FF2B5EF4-FFF2-40B4-BE49-F238E27FC236}">
                  <a16:creationId xmlns:a16="http://schemas.microsoft.com/office/drawing/2014/main" id="{DA369E3E-B037-60F7-58A8-B908E9520AC9}"/>
                </a:ext>
              </a:extLst>
            </p:cNvPr>
            <p:cNvSpPr/>
            <p:nvPr/>
          </p:nvSpPr>
          <p:spPr>
            <a:xfrm>
              <a:off x="5884493" y="1647393"/>
              <a:ext cx="56870" cy="12767"/>
            </a:xfrm>
            <a:custGeom>
              <a:avLst/>
              <a:gdLst>
                <a:gd name="connsiteX0" fmla="*/ 50480 w 56870"/>
                <a:gd name="connsiteY0" fmla="*/ 0 h 12767"/>
                <a:gd name="connsiteX1" fmla="*/ 6390 w 56870"/>
                <a:gd name="connsiteY1" fmla="*/ 0 h 12767"/>
                <a:gd name="connsiteX2" fmla="*/ 0 w 56870"/>
                <a:gd name="connsiteY2" fmla="*/ 6384 h 12767"/>
                <a:gd name="connsiteX3" fmla="*/ 6390 w 56870"/>
                <a:gd name="connsiteY3" fmla="*/ 12768 h 12767"/>
                <a:gd name="connsiteX4" fmla="*/ 50480 w 56870"/>
                <a:gd name="connsiteY4" fmla="*/ 12768 h 12767"/>
                <a:gd name="connsiteX5" fmla="*/ 56870 w 56870"/>
                <a:gd name="connsiteY5" fmla="*/ 6384 h 12767"/>
                <a:gd name="connsiteX6" fmla="*/ 50480 w 56870"/>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70" h="12767">
                  <a:moveTo>
                    <a:pt x="50480" y="0"/>
                  </a:moveTo>
                  <a:lnTo>
                    <a:pt x="6390" y="0"/>
                  </a:lnTo>
                  <a:cubicBezTo>
                    <a:pt x="2556" y="0"/>
                    <a:pt x="0" y="2554"/>
                    <a:pt x="0" y="6384"/>
                  </a:cubicBezTo>
                  <a:cubicBezTo>
                    <a:pt x="0" y="10214"/>
                    <a:pt x="2556" y="12768"/>
                    <a:pt x="6390" y="12768"/>
                  </a:cubicBezTo>
                  <a:lnTo>
                    <a:pt x="50480" y="12768"/>
                  </a:lnTo>
                  <a:cubicBezTo>
                    <a:pt x="54314" y="12768"/>
                    <a:pt x="56870" y="10214"/>
                    <a:pt x="56870" y="6384"/>
                  </a:cubicBezTo>
                  <a:cubicBezTo>
                    <a:pt x="56870" y="2554"/>
                    <a:pt x="53675" y="0"/>
                    <a:pt x="50480" y="0"/>
                  </a:cubicBezTo>
                  <a:close/>
                </a:path>
              </a:pathLst>
            </a:custGeom>
            <a:grpFill/>
            <a:ln w="3373" cap="flat">
              <a:noFill/>
              <a:prstDash val="solid"/>
              <a:miter/>
            </a:ln>
          </p:spPr>
          <p:txBody>
            <a:bodyPr rtlCol="0" anchor="ctr"/>
            <a:lstStyle/>
            <a:p>
              <a:endParaRPr lang="en-US"/>
            </a:p>
          </p:txBody>
        </p:sp>
      </p:grpSp>
    </p:spTree>
    <p:extLst>
      <p:ext uri="{BB962C8B-B14F-4D97-AF65-F5344CB8AC3E}">
        <p14:creationId xmlns:p14="http://schemas.microsoft.com/office/powerpoint/2010/main" val="412362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PowerPoint template 16_9-2017.potx" id="{761363A7-9E2E-4909-BCE8-95B5DC3977AE}" vid="{0F806FAF-8E89-4474-8F8E-22704FD5F6C0}"/>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PowerPoint template 16_9-2017.potx" id="{761363A7-9E2E-4909-BCE8-95B5DC3977AE}" vid="{0F806FAF-8E89-4474-8F8E-22704FD5F6C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7b88f78-12c1-4125-8653-2f411a335efa" xsi:nil="true"/>
    <lcf76f155ced4ddcb4097134ff3c332f xmlns="c99caa76-9c4d-43b3-915f-7ddc01f7bd3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C95D7006EABB4391D2AB151883592D" ma:contentTypeVersion="18" ma:contentTypeDescription="Create a new document." ma:contentTypeScope="" ma:versionID="06599198b5b623790d2fa4e2448617ce">
  <xsd:schema xmlns:xsd="http://www.w3.org/2001/XMLSchema" xmlns:xs="http://www.w3.org/2001/XMLSchema" xmlns:p="http://schemas.microsoft.com/office/2006/metadata/properties" xmlns:ns2="c99caa76-9c4d-43b3-915f-7ddc01f7bd3b" xmlns:ns3="37b88f78-12c1-4125-8653-2f411a335efa" targetNamespace="http://schemas.microsoft.com/office/2006/metadata/properties" ma:root="true" ma:fieldsID="dd20cda0acad11000392014825b37650" ns2:_="" ns3:_="">
    <xsd:import namespace="c99caa76-9c4d-43b3-915f-7ddc01f7bd3b"/>
    <xsd:import namespace="37b88f78-12c1-4125-8653-2f411a335ef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9caa76-9c4d-43b3-915f-7ddc01f7bd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7b88f78-12c1-4125-8653-2f411a335ef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d076c26-d836-4bfa-8311-d4704fa94967}" ma:internalName="TaxCatchAll" ma:showField="CatchAllData" ma:web="37b88f78-12c1-4125-8653-2f411a335e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5C1B02-86E4-4892-96B7-2FFC7130A8D3}">
  <ds:schemaRefs>
    <ds:schemaRef ds:uri="http://schemas.microsoft.com/sharepoint/v3/contenttype/forms"/>
  </ds:schemaRefs>
</ds:datastoreItem>
</file>

<file path=customXml/itemProps2.xml><?xml version="1.0" encoding="utf-8"?>
<ds:datastoreItem xmlns:ds="http://schemas.openxmlformats.org/officeDocument/2006/customXml" ds:itemID="{710BA0B0-804A-41EF-ABFC-9233A562AA16}">
  <ds:schemaRefs>
    <ds:schemaRef ds:uri="http://schemas.microsoft.com/office/2006/documentManagement/types"/>
    <ds:schemaRef ds:uri="http://purl.org/dc/elements/1.1/"/>
    <ds:schemaRef ds:uri="http://purl.org/dc/terms/"/>
    <ds:schemaRef ds:uri="http://purl.org/dc/dcmitype/"/>
    <ds:schemaRef ds:uri="http://www.w3.org/XML/1998/namespace"/>
    <ds:schemaRef ds:uri="37b88f78-12c1-4125-8653-2f411a335efa"/>
    <ds:schemaRef ds:uri="http://schemas.openxmlformats.org/package/2006/metadata/core-properties"/>
    <ds:schemaRef ds:uri="http://schemas.microsoft.com/office/infopath/2007/PartnerControls"/>
    <ds:schemaRef ds:uri="c99caa76-9c4d-43b3-915f-7ddc01f7bd3b"/>
    <ds:schemaRef ds:uri="http://schemas.microsoft.com/office/2006/metadata/properties"/>
  </ds:schemaRefs>
</ds:datastoreItem>
</file>

<file path=customXml/itemProps3.xml><?xml version="1.0" encoding="utf-8"?>
<ds:datastoreItem xmlns:ds="http://schemas.openxmlformats.org/officeDocument/2006/customXml" ds:itemID="{CB6ED10E-F2A0-42FA-809A-E7CD33AE772D}">
  <ds:schemaRefs>
    <ds:schemaRef ds:uri="37b88f78-12c1-4125-8653-2f411a335efa"/>
    <ds:schemaRef ds:uri="c99caa76-9c4d-43b3-915f-7ddc01f7bd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eloitte PowerPoint template 16_9-2017</Template>
  <TotalTime>6</TotalTime>
  <Words>1522</Words>
  <Application>Microsoft Macintosh PowerPoint</Application>
  <PresentationFormat>Widescreen</PresentationFormat>
  <Paragraphs>204</Paragraphs>
  <Slides>13</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4" baseType="lpstr">
      <vt:lpstr>Arial</vt:lpstr>
      <vt:lpstr>Calibri</vt:lpstr>
      <vt:lpstr>Open Sans</vt:lpstr>
      <vt:lpstr>Open Sans bold</vt:lpstr>
      <vt:lpstr>Open Sans Light</vt:lpstr>
      <vt:lpstr>Open Sans SemiBold</vt:lpstr>
      <vt:lpstr>Verdana</vt:lpstr>
      <vt:lpstr>Wingdings 2</vt:lpstr>
      <vt:lpstr>Deloitte_US_Onscreen</vt:lpstr>
      <vt:lpstr>1_Deloitte_US_Onscreen</vt:lpstr>
      <vt:lpstr>think-cell Slide</vt:lpstr>
      <vt:lpstr>Headline Verdana Bold</vt:lpstr>
      <vt:lpstr>Contents</vt:lpstr>
      <vt:lpstr>Deloitte Tech Experience</vt:lpstr>
      <vt:lpstr>Deloitte Tech Exper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eadline Verdana Bold</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pedbrito</dc:creator>
  <cp:lastModifiedBy>Hugo Mentzingen</cp:lastModifiedBy>
  <cp:revision>23</cp:revision>
  <cp:lastPrinted>2014-06-25T02:16:22Z</cp:lastPrinted>
  <dcterms:created xsi:type="dcterms:W3CDTF">2017-10-10T15:15:27Z</dcterms:created>
  <dcterms:modified xsi:type="dcterms:W3CDTF">2025-03-19T11:4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C95D7006EABB4391D2AB151883592D</vt:lpwstr>
  </property>
  <property fmtid="{D5CDD505-2E9C-101B-9397-08002B2CF9AE}" pid="3" name="AuthorIds_UIVersion_512">
    <vt:lpwstr>6</vt:lpwstr>
  </property>
  <property fmtid="{D5CDD505-2E9C-101B-9397-08002B2CF9AE}" pid="4" name="AuthorIds_UIVersion_2560">
    <vt:lpwstr>6</vt:lpwstr>
  </property>
  <property fmtid="{D5CDD505-2E9C-101B-9397-08002B2CF9AE}" pid="5" name="AuthorIds_UIVersion_2048">
    <vt:lpwstr>6</vt:lpwstr>
  </property>
  <property fmtid="{D5CDD505-2E9C-101B-9397-08002B2CF9AE}" pid="6" name="AuthorIds_UIVersion_1024">
    <vt:lpwstr>6</vt:lpwstr>
  </property>
  <property fmtid="{D5CDD505-2E9C-101B-9397-08002B2CF9AE}" pid="7" name="MSIP_Label_ea60d57e-af5b-4752-ac57-3e4f28ca11dc_Enabled">
    <vt:lpwstr>true</vt:lpwstr>
  </property>
  <property fmtid="{D5CDD505-2E9C-101B-9397-08002B2CF9AE}" pid="8" name="MSIP_Label_ea60d57e-af5b-4752-ac57-3e4f28ca11dc_SetDate">
    <vt:lpwstr>2022-04-26T10:24:34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8020f56d-a6c2-4e93-8a5d-b83560bcd801</vt:lpwstr>
  </property>
  <property fmtid="{D5CDD505-2E9C-101B-9397-08002B2CF9AE}" pid="13" name="MSIP_Label_ea60d57e-af5b-4752-ac57-3e4f28ca11dc_ContentBits">
    <vt:lpwstr>0</vt:lpwstr>
  </property>
</Properties>
</file>